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jpg" ContentType="image/jpg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vml" ContentType="application/vnd.openxmlformats-officedocument.vmlDrawing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theme/theme3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heme/theme4.xml" ContentType="application/vnd.openxmlformats-officedocument.them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1.xml" ContentType="application/vnd.openxmlformats-officedocument.presentationml.notesSlide+xml"/>
  <Override PartName="/ppt/media/image10.jpg" ContentType="image/jpeg"/>
  <Override PartName="/ppt/media/image13.jpg" ContentType="image/jpeg"/>
  <Override PartName="/ppt/notesSlides/notesSlide2.xml" ContentType="application/vnd.openxmlformats-officedocument.presentationml.notesSlid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notesSlides/notesSlide3.xml" ContentType="application/vnd.openxmlformats-officedocument.presentationml.notesSlide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notesSlides/notesSlide4.xml" ContentType="application/vnd.openxmlformats-officedocument.presentationml.notesSlide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notesSlides/notesSlide5.xml" ContentType="application/vnd.openxmlformats-officedocument.presentationml.notesSlide+xml"/>
  <Override PartName="/ppt/charts/chart2.xml" ContentType="application/vnd.openxmlformats-officedocument.drawingml.chart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notesSlides/notesSlide9.xml" ContentType="application/vnd.openxmlformats-officedocument.presentationml.notesSlide+xml"/>
  <Override PartName="/ppt/charts/chart3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notesSlides/notesSlide10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autoCompressPictures="0">
  <p:sldMasterIdLst>
    <p:sldMasterId id="2147483755" r:id="rId4"/>
    <p:sldMasterId id="2147483741" r:id="rId5"/>
    <p:sldMasterId id="2147483819" r:id="rId6"/>
  </p:sldMasterIdLst>
  <p:notesMasterIdLst>
    <p:notesMasterId r:id="rId33"/>
  </p:notesMasterIdLst>
  <p:sldIdLst>
    <p:sldId id="2692" r:id="rId7"/>
    <p:sldId id="443" r:id="rId8"/>
    <p:sldId id="439" r:id="rId9"/>
    <p:sldId id="2693" r:id="rId10"/>
    <p:sldId id="415" r:id="rId11"/>
    <p:sldId id="421" r:id="rId12"/>
    <p:sldId id="441" r:id="rId13"/>
    <p:sldId id="2691" r:id="rId14"/>
    <p:sldId id="423" r:id="rId15"/>
    <p:sldId id="2664" r:id="rId16"/>
    <p:sldId id="442" r:id="rId17"/>
    <p:sldId id="2694" r:id="rId18"/>
    <p:sldId id="2695" r:id="rId19"/>
    <p:sldId id="279" r:id="rId20"/>
    <p:sldId id="271" r:id="rId21"/>
    <p:sldId id="266" r:id="rId22"/>
    <p:sldId id="2696" r:id="rId23"/>
    <p:sldId id="2697" r:id="rId24"/>
    <p:sldId id="434" r:id="rId25"/>
    <p:sldId id="432" r:id="rId26"/>
    <p:sldId id="440" r:id="rId27"/>
    <p:sldId id="433" r:id="rId28"/>
    <p:sldId id="2689" r:id="rId29"/>
    <p:sldId id="426" r:id="rId30"/>
    <p:sldId id="290" r:id="rId31"/>
    <p:sldId id="926" r:id="rId32"/>
  </p:sldIdLst>
  <p:sldSz cx="12192000" cy="6858000"/>
  <p:notesSz cx="6858000" cy="9144000"/>
  <p:custDataLst>
    <p:tags r:id="rId34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  <p15:guide id="3" orient="horz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2F2F2"/>
    <a:srgbClr val="6B6B6B"/>
    <a:srgbClr val="3A3E3F"/>
    <a:srgbClr val="44536A"/>
    <a:srgbClr val="ED7D31"/>
    <a:srgbClr val="3E4D62"/>
    <a:srgbClr val="7C7B7D"/>
    <a:srgbClr val="000000"/>
    <a:srgbClr val="7C7C7C"/>
    <a:srgbClr val="1B587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10"/>
    <p:restoredTop sz="94648"/>
  </p:normalViewPr>
  <p:slideViewPr>
    <p:cSldViewPr snapToGrid="0">
      <p:cViewPr>
        <p:scale>
          <a:sx n="64" d="100"/>
          <a:sy n="64" d="100"/>
        </p:scale>
        <p:origin x="724" y="44"/>
      </p:cViewPr>
      <p:guideLst>
        <p:guide orient="horz" pos="2160"/>
        <p:guide pos="3840"/>
        <p:guide orient="horz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20" d="100"/>
        <a:sy n="12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39" Type="http://schemas.microsoft.com/office/2016/11/relationships/changesInfo" Target="changesInfos/changesInfo1.xml"/><Relationship Id="rId21" Type="http://schemas.openxmlformats.org/officeDocument/2006/relationships/slide" Target="slides/slide15.xml"/><Relationship Id="rId34" Type="http://schemas.openxmlformats.org/officeDocument/2006/relationships/tags" Target="tags/tag1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notesMaster" Target="notesMasters/notesMaster1.xml"/><Relationship Id="rId38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slide" Target="slides/slide23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slide" Target="slides/slide26.xml"/><Relationship Id="rId37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36" Type="http://schemas.openxmlformats.org/officeDocument/2006/relationships/viewProps" Target="viewProps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slide" Target="slides/slide2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slide" Target="slides/slide24.xml"/><Relationship Id="rId35" Type="http://schemas.openxmlformats.org/officeDocument/2006/relationships/presProps" Target="presProps.xml"/><Relationship Id="rId8" Type="http://schemas.openxmlformats.org/officeDocument/2006/relationships/slide" Target="slides/slide2.xml"/><Relationship Id="rId3" Type="http://schemas.openxmlformats.org/officeDocument/2006/relationships/customXml" Target="../customXml/item3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amir Husain" userId="e543cc27-4e99-443a-bd57-cca4c8ed8fd8" providerId="ADAL" clId="{6E4A5297-8660-442C-8474-C44C8D228367}"/>
    <pc:docChg chg="modSld">
      <pc:chgData name="Samir Husain" userId="e543cc27-4e99-443a-bd57-cca4c8ed8fd8" providerId="ADAL" clId="{6E4A5297-8660-442C-8474-C44C8D228367}" dt="2019-12-11T02:44:38.089" v="1" actId="1076"/>
      <pc:docMkLst>
        <pc:docMk/>
      </pc:docMkLst>
      <pc:sldChg chg="modSp">
        <pc:chgData name="Samir Husain" userId="e543cc27-4e99-443a-bd57-cca4c8ed8fd8" providerId="ADAL" clId="{6E4A5297-8660-442C-8474-C44C8D228367}" dt="2019-12-11T02:44:38.089" v="1" actId="1076"/>
        <pc:sldMkLst>
          <pc:docMk/>
          <pc:sldMk cId="480246610" sldId="2696"/>
        </pc:sldMkLst>
        <pc:spChg chg="mod">
          <ac:chgData name="Samir Husain" userId="e543cc27-4e99-443a-bd57-cca4c8ed8fd8" providerId="ADAL" clId="{6E4A5297-8660-442C-8474-C44C8D228367}" dt="2019-12-11T02:44:38.089" v="1" actId="1076"/>
          <ac:spMkLst>
            <pc:docMk/>
            <pc:sldMk cId="480246610" sldId="2696"/>
            <ac:spMk id="32" creationId="{C73CCD0F-E226-48CE-ABED-4438855A52BD}"/>
          </ac:spMkLst>
        </pc:spChg>
        <pc:grpChg chg="mod">
          <ac:chgData name="Samir Husain" userId="e543cc27-4e99-443a-bd57-cca4c8ed8fd8" providerId="ADAL" clId="{6E4A5297-8660-442C-8474-C44C8D228367}" dt="2019-12-11T02:44:35.548" v="0" actId="1076"/>
          <ac:grpSpMkLst>
            <pc:docMk/>
            <pc:sldMk cId="480246610" sldId="2696"/>
            <ac:grpSpMk id="2" creationId="{1DD09D7E-5DD9-4B36-8465-231A46E6E18E}"/>
          </ac:grpSpMkLst>
        </pc:gr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Book1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2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2400" dirty="0"/>
              <a:t>Negative Reviews</a:t>
            </a:r>
          </a:p>
        </c:rich>
      </c:tx>
      <c:layout>
        <c:manualLayout>
          <c:xMode val="edge"/>
          <c:yMode val="edge"/>
          <c:x val="0.26507209098862644"/>
          <c:y val="5.8981295498612543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14251356080489938"/>
          <c:y val="0.26372534221922928"/>
          <c:w val="0.81005861767279108"/>
          <c:h val="0.70383494525653378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% Negative Reviews</c:v>
                </c:pt>
              </c:strCache>
            </c:strRef>
          </c:tx>
          <c:spPr>
            <a:solidFill>
              <a:srgbClr val="44536A">
                <a:alpha val="50196"/>
              </a:srgb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ED7D3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D8A3-DB4C-97DB-692BEBC61092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6</c:f>
              <c:strCache>
                <c:ptCount val="5"/>
                <c:pt idx="0">
                  <c:v>Craigslist</c:v>
                </c:pt>
                <c:pt idx="1">
                  <c:v>Ebay</c:v>
                </c:pt>
                <c:pt idx="2">
                  <c:v>Best Buy</c:v>
                </c:pt>
                <c:pt idx="3">
                  <c:v>Amazon </c:v>
                </c:pt>
                <c:pt idx="4">
                  <c:v>Walmart</c:v>
                </c:pt>
              </c:strCache>
            </c:strRef>
          </c:cat>
          <c:val>
            <c:numRef>
              <c:f>Sheet1!$B$2:$B$6</c:f>
              <c:numCache>
                <c:formatCode>0.0%</c:formatCode>
                <c:ptCount val="5"/>
                <c:pt idx="0">
                  <c:v>0.20499999999999999</c:v>
                </c:pt>
                <c:pt idx="1">
                  <c:v>0.184</c:v>
                </c:pt>
                <c:pt idx="2">
                  <c:v>0.16700000000000001</c:v>
                </c:pt>
                <c:pt idx="3">
                  <c:v>0.14499999999999999</c:v>
                </c:pt>
                <c:pt idx="4">
                  <c:v>0.11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8A3-DB4C-97DB-692BEBC6109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1732853760"/>
        <c:axId val="1733008256"/>
      </c:barChart>
      <c:catAx>
        <c:axId val="1732853760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bg1">
                <a:lumMod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733008256"/>
        <c:crosses val="autoZero"/>
        <c:auto val="1"/>
        <c:lblAlgn val="ctr"/>
        <c:lblOffset val="100"/>
        <c:noMultiLvlLbl val="0"/>
      </c:catAx>
      <c:valAx>
        <c:axId val="1733008256"/>
        <c:scaling>
          <c:orientation val="minMax"/>
        </c:scaling>
        <c:delete val="0"/>
        <c:axPos val="t"/>
        <c:numFmt formatCode="0.0%" sourceLinked="1"/>
        <c:majorTickMark val="in"/>
        <c:minorTickMark val="none"/>
        <c:tickLblPos val="nextTo"/>
        <c:spPr>
          <a:noFill/>
          <a:ln>
            <a:solidFill>
              <a:schemeClr val="bg1">
                <a:lumMod val="75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73285376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accent2"/>
              </a:solidFill>
            </c:spPr>
            <c:extLst>
              <c:ext xmlns:c16="http://schemas.microsoft.com/office/drawing/2014/chart" uri="{C3380CC4-5D6E-409C-BE32-E72D297353CC}">
                <c16:uniqueId val="{00000001-23A0-B248-9C34-B9CE27D7094A}"/>
              </c:ext>
            </c:extLst>
          </c:dPt>
          <c:dPt>
            <c:idx val="1"/>
            <c:bubble3D val="0"/>
            <c:spPr>
              <a:solidFill>
                <a:srgbClr val="A6A6A6"/>
              </a:solidFill>
            </c:spPr>
            <c:extLst>
              <c:ext xmlns:c16="http://schemas.microsoft.com/office/drawing/2014/chart" uri="{C3380CC4-5D6E-409C-BE32-E72D297353CC}">
                <c16:uniqueId val="{00000003-23A0-B248-9C34-B9CE27D7094A}"/>
              </c:ext>
            </c:extLst>
          </c:dPt>
          <c:dPt>
            <c:idx val="2"/>
            <c:bubble3D val="0"/>
            <c:spPr>
              <a:solidFill>
                <a:schemeClr val="tx2"/>
              </a:solidFill>
            </c:spPr>
            <c:extLst>
              <c:ext xmlns:c16="http://schemas.microsoft.com/office/drawing/2014/chart" uri="{C3380CC4-5D6E-409C-BE32-E72D297353CC}">
                <c16:uniqueId val="{00000005-23A0-B248-9C34-B9CE27D7094A}"/>
              </c:ext>
            </c:extLst>
          </c:dPt>
          <c:dPt>
            <c:idx val="3"/>
            <c:bubble3D val="0"/>
            <c:spPr>
              <a:solidFill>
                <a:schemeClr val="bg1">
                  <a:lumMod val="75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07-23A0-B248-9C34-B9CE27D7094A}"/>
              </c:ext>
            </c:extLst>
          </c:dPt>
          <c:cat>
            <c:strRef>
              <c:f>Sheet1!$A$2:$A$4</c:f>
              <c:strCache>
                <c:ptCount val="3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</c:strCache>
            </c:strRef>
          </c:cat>
          <c:val>
            <c:numRef>
              <c:f>Sheet1!$B$2:$B$4</c:f>
              <c:numCache>
                <c:formatCode>0%</c:formatCode>
                <c:ptCount val="3"/>
                <c:pt idx="0">
                  <c:v>0.3</c:v>
                </c:pt>
                <c:pt idx="1">
                  <c:v>0.3</c:v>
                </c:pt>
                <c:pt idx="2">
                  <c:v>0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23A0-B248-9C34-B9CE27D7094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65"/>
      </c:doughnutChart>
    </c:plotArea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val>
            <c:numRef>
              <c:f>Sheet1!$F$6:$F$10</c:f>
              <c:numCache>
                <c:formatCode>General</c:formatCode>
                <c:ptCount val="5"/>
                <c:pt idx="0">
                  <c:v>3.83</c:v>
                </c:pt>
                <c:pt idx="1">
                  <c:v>3.8349999999999991</c:v>
                </c:pt>
                <c:pt idx="2">
                  <c:v>3.8949999999999996</c:v>
                </c:pt>
                <c:pt idx="3">
                  <c:v>3.9779999999999998</c:v>
                </c:pt>
                <c:pt idx="4">
                  <c:v>3.959999999999999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3D-417D-A4DC-F7EA6A52294C}"/>
            </c:ext>
          </c:extLst>
        </c:ser>
        <c:ser>
          <c:idx val="1"/>
          <c:order val="1"/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val>
            <c:numRef>
              <c:f>Sheet1!$G$6:$G$10</c:f>
              <c:numCache>
                <c:formatCode>General</c:formatCode>
                <c:ptCount val="5"/>
                <c:pt idx="0" formatCode="0.00">
                  <c:v>3.8849999999999998</c:v>
                </c:pt>
                <c:pt idx="1">
                  <c:v>3.9000000000000004</c:v>
                </c:pt>
                <c:pt idx="2">
                  <c:v>3.9370000000000012</c:v>
                </c:pt>
                <c:pt idx="3">
                  <c:v>4.004999999999999</c:v>
                </c:pt>
                <c:pt idx="4">
                  <c:v>4.03100000000000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03D-417D-A4DC-F7EA6A52294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6"/>
        <c:overlap val="-26"/>
        <c:axId val="2020945023"/>
        <c:axId val="2014422527"/>
      </c:barChart>
      <c:catAx>
        <c:axId val="2020945023"/>
        <c:scaling>
          <c:orientation val="minMax"/>
        </c:scaling>
        <c:delete val="1"/>
        <c:axPos val="b"/>
        <c:majorTickMark val="none"/>
        <c:minorTickMark val="none"/>
        <c:tickLblPos val="nextTo"/>
        <c:crossAx val="2014422527"/>
        <c:crosses val="autoZero"/>
        <c:auto val="1"/>
        <c:lblAlgn val="ctr"/>
        <c:lblOffset val="100"/>
        <c:noMultiLvlLbl val="0"/>
      </c:catAx>
      <c:valAx>
        <c:axId val="2014422527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2020945023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6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7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5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09E8A34-A35D-48AF-94E4-E54C6F9E9CC2}" type="datetimeFigureOut">
              <a:rPr lang="en-US" smtClean="0"/>
              <a:t>12/10/20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30A9203-D746-4BFC-B9B5-B43B8CA89C7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852948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30A9203-D746-4BFC-B9B5-B43B8CA89C7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2250074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E60DC36-8EFA-4378-9855-E019C55AC472}" type="slidenum">
              <a:rPr lang="en-US" smtClean="0"/>
              <a:t>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0910757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30A9203-D746-4BFC-B9B5-B43B8CA89C74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904752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256E95E-57AA-4526-AA4C-3002F47FB13B}" type="slidenum">
              <a:rPr lang="en-US" smtClean="0"/>
              <a:pPr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3969705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B1E9C3B-07D6-4D15-A385-80E7F110ED79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400580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30A9203-D746-4BFC-B9B5-B43B8CA89C74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5857911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30A9203-D746-4BFC-B9B5-B43B8CA89C74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908289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30A9203-D746-4BFC-B9B5-B43B8CA89C74}" type="slidenum">
              <a:rPr lang="en-US" smtClean="0"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4487197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30A9203-D746-4BFC-B9B5-B43B8CA89C74}" type="slidenum">
              <a:rPr lang="en-US" smtClean="0"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9881970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E60DC36-8EFA-4378-9855-E019C55AC472}" type="slidenum">
              <a:rPr lang="en-US" smtClean="0"/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3964756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7" Type="http://schemas.openxmlformats.org/officeDocument/2006/relationships/image" Target="../media/image2.emf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7" Type="http://schemas.openxmlformats.org/officeDocument/2006/relationships/image" Target="../media/image2.emf"/><Relationship Id="rId2" Type="http://schemas.openxmlformats.org/officeDocument/2006/relationships/tags" Target="../tags/tag5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7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6.jpg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0566027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-Morph-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6"/>
          <p:cNvSpPr>
            <a:spLocks noGrp="1"/>
          </p:cNvSpPr>
          <p:nvPr>
            <p:ph type="pic" sz="quarter" idx="43" hasCustomPrompt="1"/>
          </p:nvPr>
        </p:nvSpPr>
        <p:spPr>
          <a:xfrm>
            <a:off x="-7593871" y="1635523"/>
            <a:ext cx="2954199" cy="3586734"/>
          </a:xfrm>
          <a:prstGeom prst="rect">
            <a:avLst/>
          </a:prstGeom>
          <a:pattFill prst="pct60">
            <a:fgClr>
              <a:srgbClr val="FFFFFF"/>
            </a:fgClr>
            <a:bgClr>
              <a:srgbClr val="E6E9EE"/>
            </a:bgClr>
          </a:pattFill>
        </p:spPr>
        <p:txBody>
          <a:bodyPr anchor="ctr"/>
          <a:lstStyle>
            <a:lvl1pPr>
              <a:defRPr lang="en-US"/>
            </a:lvl1pPr>
          </a:lstStyle>
          <a:p>
            <a:pPr lvl="0"/>
            <a:r>
              <a:rPr lang="en-US"/>
              <a:t>5</a:t>
            </a:r>
          </a:p>
        </p:txBody>
      </p:sp>
      <p:sp>
        <p:nvSpPr>
          <p:cNvPr id="9" name="Picture Placeholder 6"/>
          <p:cNvSpPr>
            <a:spLocks noGrp="1"/>
          </p:cNvSpPr>
          <p:nvPr>
            <p:ph type="pic" sz="quarter" idx="42" hasCustomPrompt="1"/>
          </p:nvPr>
        </p:nvSpPr>
        <p:spPr>
          <a:xfrm>
            <a:off x="-4600948" y="1635524"/>
            <a:ext cx="2954199" cy="3586734"/>
          </a:xfrm>
          <a:prstGeom prst="rect">
            <a:avLst/>
          </a:prstGeom>
          <a:pattFill prst="pct60">
            <a:fgClr>
              <a:srgbClr val="FFFFFF"/>
            </a:fgClr>
            <a:bgClr>
              <a:srgbClr val="E6E9EE"/>
            </a:bgClr>
          </a:pattFill>
        </p:spPr>
        <p:txBody>
          <a:bodyPr anchor="ctr"/>
          <a:lstStyle>
            <a:lvl1pPr>
              <a:defRPr lang="en-US"/>
            </a:lvl1pPr>
          </a:lstStyle>
          <a:p>
            <a:pPr lvl="0"/>
            <a:r>
              <a:rPr lang="en-US"/>
              <a:t>4</a:t>
            </a:r>
          </a:p>
        </p:txBody>
      </p:sp>
      <p:sp>
        <p:nvSpPr>
          <p:cNvPr id="8" name="Picture Placeholder 6"/>
          <p:cNvSpPr>
            <a:spLocks noGrp="1"/>
          </p:cNvSpPr>
          <p:nvPr>
            <p:ph type="pic" sz="quarter" idx="41" hasCustomPrompt="1"/>
          </p:nvPr>
        </p:nvSpPr>
        <p:spPr>
          <a:xfrm>
            <a:off x="-1608025" y="1635524"/>
            <a:ext cx="2954200" cy="3586734"/>
          </a:xfrm>
          <a:prstGeom prst="rect">
            <a:avLst/>
          </a:prstGeom>
          <a:pattFill prst="pct60">
            <a:fgClr>
              <a:srgbClr val="FFFFFF"/>
            </a:fgClr>
            <a:bgClr>
              <a:srgbClr val="E6E9EE"/>
            </a:bgClr>
          </a:pattFill>
        </p:spPr>
        <p:txBody>
          <a:bodyPr anchor="ctr"/>
          <a:lstStyle>
            <a:lvl1pPr>
              <a:defRPr lang="en-US"/>
            </a:lvl1pPr>
          </a:lstStyle>
          <a:p>
            <a:pPr lvl="0"/>
            <a:r>
              <a:rPr lang="en-US"/>
              <a:t>3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40" hasCustomPrompt="1"/>
          </p:nvPr>
        </p:nvSpPr>
        <p:spPr>
          <a:xfrm>
            <a:off x="1384898" y="1635524"/>
            <a:ext cx="2954200" cy="3586734"/>
          </a:xfrm>
          <a:prstGeom prst="rect">
            <a:avLst/>
          </a:prstGeom>
          <a:pattFill prst="pct60">
            <a:fgClr>
              <a:srgbClr val="FFFFFF"/>
            </a:fgClr>
            <a:bgClr>
              <a:srgbClr val="E6E9EE"/>
            </a:bgClr>
          </a:pattFill>
        </p:spPr>
        <p:txBody>
          <a:bodyPr anchor="ctr"/>
          <a:lstStyle>
            <a:lvl1pPr>
              <a:defRPr lang="en-US"/>
            </a:lvl1pPr>
          </a:lstStyle>
          <a:p>
            <a:pPr lvl="0"/>
            <a:r>
              <a:rPr lang="en-US"/>
              <a:t>2</a:t>
            </a:r>
          </a:p>
        </p:txBody>
      </p:sp>
      <p:sp>
        <p:nvSpPr>
          <p:cNvPr id="4" name="Picture Placeholder 6"/>
          <p:cNvSpPr>
            <a:spLocks noGrp="1"/>
          </p:cNvSpPr>
          <p:nvPr>
            <p:ph type="pic" sz="quarter" idx="39" hasCustomPrompt="1"/>
          </p:nvPr>
        </p:nvSpPr>
        <p:spPr>
          <a:xfrm>
            <a:off x="12192000" y="1635524"/>
            <a:ext cx="2954200" cy="3586734"/>
          </a:xfrm>
          <a:prstGeom prst="rect">
            <a:avLst/>
          </a:prstGeom>
          <a:pattFill prst="pct60">
            <a:fgClr>
              <a:srgbClr val="FFFFFF"/>
            </a:fgClr>
            <a:bgClr>
              <a:srgbClr val="E6E9EE"/>
            </a:bgClr>
          </a:pattFill>
        </p:spPr>
        <p:txBody>
          <a:bodyPr anchor="ctr"/>
          <a:lstStyle>
            <a:lvl1pPr>
              <a:defRPr lang="en-US"/>
            </a:lvl1pPr>
          </a:lstStyle>
          <a:p>
            <a:pPr lvl="0"/>
            <a:r>
              <a:rPr lang="en-US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755474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-Morph-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6"/>
          <p:cNvSpPr>
            <a:spLocks noGrp="1"/>
          </p:cNvSpPr>
          <p:nvPr>
            <p:ph type="pic" sz="quarter" idx="43" hasCustomPrompt="1"/>
          </p:nvPr>
        </p:nvSpPr>
        <p:spPr>
          <a:xfrm>
            <a:off x="-4600947" y="1635523"/>
            <a:ext cx="2954199" cy="3586734"/>
          </a:xfrm>
          <a:prstGeom prst="rect">
            <a:avLst/>
          </a:prstGeom>
          <a:pattFill prst="pct60">
            <a:fgClr>
              <a:srgbClr val="FFFFFF"/>
            </a:fgClr>
            <a:bgClr>
              <a:srgbClr val="E6E9EE"/>
            </a:bgClr>
          </a:pattFill>
        </p:spPr>
        <p:txBody>
          <a:bodyPr anchor="ctr"/>
          <a:lstStyle>
            <a:lvl1pPr>
              <a:defRPr lang="en-US"/>
            </a:lvl1pPr>
          </a:lstStyle>
          <a:p>
            <a:pPr lvl="0"/>
            <a:r>
              <a:rPr lang="en-US"/>
              <a:t>5</a:t>
            </a:r>
          </a:p>
        </p:txBody>
      </p:sp>
      <p:sp>
        <p:nvSpPr>
          <p:cNvPr id="9" name="Picture Placeholder 6"/>
          <p:cNvSpPr>
            <a:spLocks noGrp="1"/>
          </p:cNvSpPr>
          <p:nvPr>
            <p:ph type="pic" sz="quarter" idx="42" hasCustomPrompt="1"/>
          </p:nvPr>
        </p:nvSpPr>
        <p:spPr>
          <a:xfrm>
            <a:off x="-1608024" y="1635524"/>
            <a:ext cx="2954199" cy="3586734"/>
          </a:xfrm>
          <a:prstGeom prst="rect">
            <a:avLst/>
          </a:prstGeom>
          <a:pattFill prst="pct60">
            <a:fgClr>
              <a:srgbClr val="FFFFFF"/>
            </a:fgClr>
            <a:bgClr>
              <a:srgbClr val="E6E9EE"/>
            </a:bgClr>
          </a:pattFill>
        </p:spPr>
        <p:txBody>
          <a:bodyPr anchor="ctr"/>
          <a:lstStyle>
            <a:lvl1pPr>
              <a:defRPr lang="en-US"/>
            </a:lvl1pPr>
          </a:lstStyle>
          <a:p>
            <a:pPr lvl="0"/>
            <a:r>
              <a:rPr lang="en-US"/>
              <a:t>4</a:t>
            </a:r>
          </a:p>
        </p:txBody>
      </p:sp>
      <p:sp>
        <p:nvSpPr>
          <p:cNvPr id="8" name="Picture Placeholder 6"/>
          <p:cNvSpPr>
            <a:spLocks noGrp="1"/>
          </p:cNvSpPr>
          <p:nvPr>
            <p:ph type="pic" sz="quarter" idx="41" hasCustomPrompt="1"/>
          </p:nvPr>
        </p:nvSpPr>
        <p:spPr>
          <a:xfrm>
            <a:off x="1384898" y="1635524"/>
            <a:ext cx="2954200" cy="3586734"/>
          </a:xfrm>
          <a:prstGeom prst="rect">
            <a:avLst/>
          </a:prstGeom>
          <a:pattFill prst="pct60">
            <a:fgClr>
              <a:srgbClr val="FFFFFF"/>
            </a:fgClr>
            <a:bgClr>
              <a:srgbClr val="E6E9EE"/>
            </a:bgClr>
          </a:pattFill>
        </p:spPr>
        <p:txBody>
          <a:bodyPr anchor="ctr"/>
          <a:lstStyle>
            <a:lvl1pPr>
              <a:defRPr lang="en-US"/>
            </a:lvl1pPr>
          </a:lstStyle>
          <a:p>
            <a:pPr lvl="0"/>
            <a:r>
              <a:rPr lang="en-US"/>
              <a:t>3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40" hasCustomPrompt="1"/>
          </p:nvPr>
        </p:nvSpPr>
        <p:spPr>
          <a:xfrm>
            <a:off x="12192000" y="1635524"/>
            <a:ext cx="2954200" cy="3586734"/>
          </a:xfrm>
          <a:prstGeom prst="rect">
            <a:avLst/>
          </a:prstGeom>
          <a:pattFill prst="pct60">
            <a:fgClr>
              <a:srgbClr val="FFFFFF"/>
            </a:fgClr>
            <a:bgClr>
              <a:srgbClr val="E6E9EE"/>
            </a:bgClr>
          </a:pattFill>
        </p:spPr>
        <p:txBody>
          <a:bodyPr anchor="ctr"/>
          <a:lstStyle>
            <a:lvl1pPr>
              <a:defRPr lang="en-US"/>
            </a:lvl1pPr>
          </a:lstStyle>
          <a:p>
            <a:pPr lvl="0"/>
            <a:r>
              <a:rPr lang="en-US"/>
              <a:t>2</a:t>
            </a:r>
          </a:p>
        </p:txBody>
      </p:sp>
      <p:sp>
        <p:nvSpPr>
          <p:cNvPr id="4" name="Picture Placeholder 6"/>
          <p:cNvSpPr>
            <a:spLocks noGrp="1"/>
          </p:cNvSpPr>
          <p:nvPr>
            <p:ph type="pic" sz="quarter" idx="39" hasCustomPrompt="1"/>
          </p:nvPr>
        </p:nvSpPr>
        <p:spPr>
          <a:xfrm>
            <a:off x="15146200" y="1635524"/>
            <a:ext cx="2954200" cy="3586734"/>
          </a:xfrm>
          <a:prstGeom prst="rect">
            <a:avLst/>
          </a:prstGeom>
          <a:pattFill prst="pct60">
            <a:fgClr>
              <a:srgbClr val="FFFFFF"/>
            </a:fgClr>
            <a:bgClr>
              <a:srgbClr val="E6E9EE"/>
            </a:bgClr>
          </a:pattFill>
        </p:spPr>
        <p:txBody>
          <a:bodyPr anchor="ctr"/>
          <a:lstStyle>
            <a:lvl1pPr>
              <a:defRPr lang="en-US"/>
            </a:lvl1pPr>
          </a:lstStyle>
          <a:p>
            <a:pPr lvl="0"/>
            <a:r>
              <a:rPr lang="en-US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18529914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-Morph-0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6"/>
          <p:cNvSpPr>
            <a:spLocks noGrp="1"/>
          </p:cNvSpPr>
          <p:nvPr>
            <p:ph type="pic" sz="quarter" idx="43" hasCustomPrompt="1"/>
          </p:nvPr>
        </p:nvSpPr>
        <p:spPr>
          <a:xfrm>
            <a:off x="-1627385" y="1635523"/>
            <a:ext cx="2954199" cy="3586734"/>
          </a:xfrm>
          <a:prstGeom prst="rect">
            <a:avLst/>
          </a:prstGeom>
          <a:pattFill prst="pct60">
            <a:fgClr>
              <a:srgbClr val="FFFFFF"/>
            </a:fgClr>
            <a:bgClr>
              <a:srgbClr val="E6E9EE"/>
            </a:bgClr>
          </a:pattFill>
        </p:spPr>
        <p:txBody>
          <a:bodyPr anchor="ctr"/>
          <a:lstStyle>
            <a:lvl1pPr>
              <a:defRPr lang="en-US"/>
            </a:lvl1pPr>
          </a:lstStyle>
          <a:p>
            <a:pPr lvl="0"/>
            <a:r>
              <a:rPr lang="en-US"/>
              <a:t>5</a:t>
            </a:r>
          </a:p>
        </p:txBody>
      </p:sp>
      <p:sp>
        <p:nvSpPr>
          <p:cNvPr id="9" name="Picture Placeholder 6"/>
          <p:cNvSpPr>
            <a:spLocks noGrp="1"/>
          </p:cNvSpPr>
          <p:nvPr>
            <p:ph type="pic" sz="quarter" idx="42" hasCustomPrompt="1"/>
          </p:nvPr>
        </p:nvSpPr>
        <p:spPr>
          <a:xfrm>
            <a:off x="1365537" y="1635524"/>
            <a:ext cx="2954199" cy="3586734"/>
          </a:xfrm>
          <a:prstGeom prst="rect">
            <a:avLst/>
          </a:prstGeom>
          <a:pattFill prst="pct60">
            <a:fgClr>
              <a:srgbClr val="FFFFFF"/>
            </a:fgClr>
            <a:bgClr>
              <a:srgbClr val="E6E9EE"/>
            </a:bgClr>
          </a:pattFill>
        </p:spPr>
        <p:txBody>
          <a:bodyPr anchor="ctr"/>
          <a:lstStyle>
            <a:lvl1pPr>
              <a:defRPr lang="en-US"/>
            </a:lvl1pPr>
          </a:lstStyle>
          <a:p>
            <a:pPr lvl="0"/>
            <a:r>
              <a:rPr lang="en-US"/>
              <a:t>4</a:t>
            </a:r>
          </a:p>
        </p:txBody>
      </p:sp>
      <p:sp>
        <p:nvSpPr>
          <p:cNvPr id="8" name="Picture Placeholder 6"/>
          <p:cNvSpPr>
            <a:spLocks noGrp="1"/>
          </p:cNvSpPr>
          <p:nvPr>
            <p:ph type="pic" sz="quarter" idx="41" hasCustomPrompt="1"/>
          </p:nvPr>
        </p:nvSpPr>
        <p:spPr>
          <a:xfrm>
            <a:off x="12192000" y="1635524"/>
            <a:ext cx="2954200" cy="3586734"/>
          </a:xfrm>
          <a:prstGeom prst="rect">
            <a:avLst/>
          </a:prstGeom>
          <a:pattFill prst="pct60">
            <a:fgClr>
              <a:srgbClr val="FFFFFF"/>
            </a:fgClr>
            <a:bgClr>
              <a:srgbClr val="E6E9EE"/>
            </a:bgClr>
          </a:pattFill>
        </p:spPr>
        <p:txBody>
          <a:bodyPr anchor="ctr"/>
          <a:lstStyle>
            <a:lvl1pPr>
              <a:defRPr lang="en-US"/>
            </a:lvl1pPr>
          </a:lstStyle>
          <a:p>
            <a:pPr lvl="0"/>
            <a:r>
              <a:rPr lang="en-US"/>
              <a:t>3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40" hasCustomPrompt="1"/>
          </p:nvPr>
        </p:nvSpPr>
        <p:spPr>
          <a:xfrm>
            <a:off x="15146200" y="1635524"/>
            <a:ext cx="2954200" cy="3586734"/>
          </a:xfrm>
          <a:prstGeom prst="rect">
            <a:avLst/>
          </a:prstGeom>
          <a:pattFill prst="pct60">
            <a:fgClr>
              <a:srgbClr val="FFFFFF"/>
            </a:fgClr>
            <a:bgClr>
              <a:srgbClr val="E6E9EE"/>
            </a:bgClr>
          </a:pattFill>
        </p:spPr>
        <p:txBody>
          <a:bodyPr anchor="ctr"/>
          <a:lstStyle>
            <a:lvl1pPr>
              <a:defRPr lang="en-US"/>
            </a:lvl1pPr>
          </a:lstStyle>
          <a:p>
            <a:pPr lvl="0"/>
            <a:r>
              <a:rPr lang="en-US"/>
              <a:t>2</a:t>
            </a:r>
          </a:p>
        </p:txBody>
      </p:sp>
      <p:sp>
        <p:nvSpPr>
          <p:cNvPr id="4" name="Picture Placeholder 6"/>
          <p:cNvSpPr>
            <a:spLocks noGrp="1"/>
          </p:cNvSpPr>
          <p:nvPr>
            <p:ph type="pic" sz="quarter" idx="39" hasCustomPrompt="1"/>
          </p:nvPr>
        </p:nvSpPr>
        <p:spPr>
          <a:xfrm>
            <a:off x="18100400" y="1635524"/>
            <a:ext cx="2954200" cy="3586734"/>
          </a:xfrm>
          <a:prstGeom prst="rect">
            <a:avLst/>
          </a:prstGeom>
          <a:pattFill prst="pct60">
            <a:fgClr>
              <a:srgbClr val="FFFFFF"/>
            </a:fgClr>
            <a:bgClr>
              <a:srgbClr val="E6E9EE"/>
            </a:bgClr>
          </a:pattFill>
        </p:spPr>
        <p:txBody>
          <a:bodyPr anchor="ctr"/>
          <a:lstStyle>
            <a:lvl1pPr>
              <a:defRPr lang="en-US"/>
            </a:lvl1pPr>
          </a:lstStyle>
          <a:p>
            <a:pPr lvl="0"/>
            <a:r>
              <a:rPr lang="en-US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30864405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-Morph-0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6"/>
          <p:cNvSpPr>
            <a:spLocks noGrp="1"/>
          </p:cNvSpPr>
          <p:nvPr>
            <p:ph type="pic" sz="quarter" idx="43" hasCustomPrompt="1"/>
          </p:nvPr>
        </p:nvSpPr>
        <p:spPr>
          <a:xfrm>
            <a:off x="1251252" y="1635523"/>
            <a:ext cx="2954199" cy="3586734"/>
          </a:xfrm>
          <a:prstGeom prst="rect">
            <a:avLst/>
          </a:prstGeom>
          <a:pattFill prst="pct60">
            <a:fgClr>
              <a:srgbClr val="FFFFFF"/>
            </a:fgClr>
            <a:bgClr>
              <a:srgbClr val="E6E9EE"/>
            </a:bgClr>
          </a:pattFill>
        </p:spPr>
        <p:txBody>
          <a:bodyPr anchor="ctr"/>
          <a:lstStyle>
            <a:lvl1pPr>
              <a:defRPr lang="en-US"/>
            </a:lvl1pPr>
          </a:lstStyle>
          <a:p>
            <a:pPr lvl="0"/>
            <a:r>
              <a:rPr lang="en-US"/>
              <a:t>5</a:t>
            </a:r>
          </a:p>
        </p:txBody>
      </p:sp>
      <p:sp>
        <p:nvSpPr>
          <p:cNvPr id="9" name="Picture Placeholder 6"/>
          <p:cNvSpPr>
            <a:spLocks noGrp="1"/>
          </p:cNvSpPr>
          <p:nvPr>
            <p:ph type="pic" sz="quarter" idx="42" hasCustomPrompt="1"/>
          </p:nvPr>
        </p:nvSpPr>
        <p:spPr>
          <a:xfrm>
            <a:off x="12192000" y="1635524"/>
            <a:ext cx="2954199" cy="3586734"/>
          </a:xfrm>
          <a:prstGeom prst="rect">
            <a:avLst/>
          </a:prstGeom>
          <a:pattFill prst="pct60">
            <a:fgClr>
              <a:srgbClr val="FFFFFF"/>
            </a:fgClr>
            <a:bgClr>
              <a:srgbClr val="E6E9EE"/>
            </a:bgClr>
          </a:pattFill>
        </p:spPr>
        <p:txBody>
          <a:bodyPr anchor="ctr"/>
          <a:lstStyle>
            <a:lvl1pPr>
              <a:defRPr lang="en-US"/>
            </a:lvl1pPr>
          </a:lstStyle>
          <a:p>
            <a:pPr lvl="0"/>
            <a:r>
              <a:rPr lang="en-US"/>
              <a:t>4</a:t>
            </a:r>
          </a:p>
        </p:txBody>
      </p:sp>
      <p:sp>
        <p:nvSpPr>
          <p:cNvPr id="8" name="Picture Placeholder 6"/>
          <p:cNvSpPr>
            <a:spLocks noGrp="1"/>
          </p:cNvSpPr>
          <p:nvPr>
            <p:ph type="pic" sz="quarter" idx="41" hasCustomPrompt="1"/>
          </p:nvPr>
        </p:nvSpPr>
        <p:spPr>
          <a:xfrm>
            <a:off x="15146200" y="1635524"/>
            <a:ext cx="2954200" cy="3586734"/>
          </a:xfrm>
          <a:prstGeom prst="rect">
            <a:avLst/>
          </a:prstGeom>
          <a:pattFill prst="pct60">
            <a:fgClr>
              <a:srgbClr val="FFFFFF"/>
            </a:fgClr>
            <a:bgClr>
              <a:srgbClr val="E6E9EE"/>
            </a:bgClr>
          </a:pattFill>
        </p:spPr>
        <p:txBody>
          <a:bodyPr anchor="ctr"/>
          <a:lstStyle>
            <a:lvl1pPr>
              <a:defRPr lang="en-US"/>
            </a:lvl1pPr>
          </a:lstStyle>
          <a:p>
            <a:pPr lvl="0"/>
            <a:r>
              <a:rPr lang="en-US"/>
              <a:t>3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40" hasCustomPrompt="1"/>
          </p:nvPr>
        </p:nvSpPr>
        <p:spPr>
          <a:xfrm>
            <a:off x="18100399" y="1635524"/>
            <a:ext cx="2954200" cy="3586734"/>
          </a:xfrm>
          <a:prstGeom prst="rect">
            <a:avLst/>
          </a:prstGeom>
          <a:pattFill prst="pct60">
            <a:fgClr>
              <a:srgbClr val="FFFFFF"/>
            </a:fgClr>
            <a:bgClr>
              <a:srgbClr val="E6E9EE"/>
            </a:bgClr>
          </a:pattFill>
        </p:spPr>
        <p:txBody>
          <a:bodyPr anchor="ctr"/>
          <a:lstStyle>
            <a:lvl1pPr>
              <a:defRPr lang="en-US"/>
            </a:lvl1pPr>
          </a:lstStyle>
          <a:p>
            <a:pPr lvl="0"/>
            <a:r>
              <a:rPr lang="en-US"/>
              <a:t>2</a:t>
            </a:r>
          </a:p>
        </p:txBody>
      </p:sp>
      <p:sp>
        <p:nvSpPr>
          <p:cNvPr id="4" name="Picture Placeholder 6"/>
          <p:cNvSpPr>
            <a:spLocks noGrp="1"/>
          </p:cNvSpPr>
          <p:nvPr>
            <p:ph type="pic" sz="quarter" idx="39" hasCustomPrompt="1"/>
          </p:nvPr>
        </p:nvSpPr>
        <p:spPr>
          <a:xfrm>
            <a:off x="21054599" y="1635524"/>
            <a:ext cx="2954200" cy="3586734"/>
          </a:xfrm>
          <a:prstGeom prst="rect">
            <a:avLst/>
          </a:prstGeom>
          <a:pattFill prst="pct60">
            <a:fgClr>
              <a:srgbClr val="FFFFFF"/>
            </a:fgClr>
            <a:bgClr>
              <a:srgbClr val="E6E9EE"/>
            </a:bgClr>
          </a:pattFill>
        </p:spPr>
        <p:txBody>
          <a:bodyPr anchor="ctr"/>
          <a:lstStyle>
            <a:lvl1pPr>
              <a:defRPr lang="en-US"/>
            </a:lvl1pPr>
          </a:lstStyle>
          <a:p>
            <a:pPr lvl="0"/>
            <a:r>
              <a:rPr lang="en-US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23846311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B11D6E6F-1A6B-45CF-B9D7-D9761B246E47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2849528" y="1711570"/>
            <a:ext cx="2860058" cy="3563816"/>
          </a:xfrm>
          <a:custGeom>
            <a:avLst/>
            <a:gdLst>
              <a:gd name="connsiteX0" fmla="*/ 0 w 5720861"/>
              <a:gd name="connsiteY0" fmla="*/ 0 h 7127631"/>
              <a:gd name="connsiteX1" fmla="*/ 5720861 w 5720861"/>
              <a:gd name="connsiteY1" fmla="*/ 0 h 7127631"/>
              <a:gd name="connsiteX2" fmla="*/ 5720861 w 5720861"/>
              <a:gd name="connsiteY2" fmla="*/ 7127631 h 7127631"/>
              <a:gd name="connsiteX3" fmla="*/ 0 w 5720861"/>
              <a:gd name="connsiteY3" fmla="*/ 7127631 h 71276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20861" h="7127631">
                <a:moveTo>
                  <a:pt x="0" y="0"/>
                </a:moveTo>
                <a:lnTo>
                  <a:pt x="5720861" y="0"/>
                </a:lnTo>
                <a:lnTo>
                  <a:pt x="5720861" y="7127631"/>
                </a:lnTo>
                <a:lnTo>
                  <a:pt x="0" y="7127631"/>
                </a:lnTo>
                <a:close/>
              </a:path>
            </a:pathLst>
          </a:custGeom>
          <a:pattFill prst="pct60">
            <a:fgClr>
              <a:srgbClr val="FFFFFF"/>
            </a:fgClr>
            <a:bgClr>
              <a:srgbClr val="E6E9EE"/>
            </a:bgClr>
          </a:pattFill>
        </p:spPr>
        <p:txBody>
          <a:bodyPr anchor="ctr"/>
          <a:lstStyle>
            <a:lvl1pPr>
              <a:defRPr lang="en-US"/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672384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F73DD1C2-C46F-4111-8691-AF13BE6E39C6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6090969" y="1991544"/>
            <a:ext cx="2860058" cy="3563816"/>
          </a:xfrm>
          <a:custGeom>
            <a:avLst/>
            <a:gdLst>
              <a:gd name="connsiteX0" fmla="*/ 0 w 5720861"/>
              <a:gd name="connsiteY0" fmla="*/ 0 h 7127631"/>
              <a:gd name="connsiteX1" fmla="*/ 5720861 w 5720861"/>
              <a:gd name="connsiteY1" fmla="*/ 0 h 7127631"/>
              <a:gd name="connsiteX2" fmla="*/ 5720861 w 5720861"/>
              <a:gd name="connsiteY2" fmla="*/ 7127631 h 7127631"/>
              <a:gd name="connsiteX3" fmla="*/ 0 w 5720861"/>
              <a:gd name="connsiteY3" fmla="*/ 7127631 h 71276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20861" h="7127631">
                <a:moveTo>
                  <a:pt x="0" y="0"/>
                </a:moveTo>
                <a:lnTo>
                  <a:pt x="5720861" y="0"/>
                </a:lnTo>
                <a:lnTo>
                  <a:pt x="5720861" y="7127631"/>
                </a:lnTo>
                <a:lnTo>
                  <a:pt x="0" y="7127631"/>
                </a:lnTo>
                <a:close/>
              </a:path>
            </a:pathLst>
          </a:custGeom>
          <a:pattFill prst="pct60">
            <a:fgClr>
              <a:srgbClr val="FFFFFF"/>
            </a:fgClr>
            <a:bgClr>
              <a:srgbClr val="E6E9EE"/>
            </a:bgClr>
          </a:pattFill>
        </p:spPr>
        <p:txBody>
          <a:bodyPr anchor="ctr"/>
          <a:lstStyle>
            <a:lvl1pPr>
              <a:defRPr lang="en-US"/>
            </a:lvl1pPr>
          </a:lstStyle>
          <a:p>
            <a:pPr lvl="0"/>
            <a:endParaRPr lang="en-US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B11D6E6F-1A6B-45CF-B9D7-D9761B246E47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463411" y="1991544"/>
            <a:ext cx="2860058" cy="3563816"/>
          </a:xfrm>
          <a:custGeom>
            <a:avLst/>
            <a:gdLst>
              <a:gd name="connsiteX0" fmla="*/ 0 w 5720861"/>
              <a:gd name="connsiteY0" fmla="*/ 0 h 7127631"/>
              <a:gd name="connsiteX1" fmla="*/ 5720861 w 5720861"/>
              <a:gd name="connsiteY1" fmla="*/ 0 h 7127631"/>
              <a:gd name="connsiteX2" fmla="*/ 5720861 w 5720861"/>
              <a:gd name="connsiteY2" fmla="*/ 7127631 h 7127631"/>
              <a:gd name="connsiteX3" fmla="*/ 0 w 5720861"/>
              <a:gd name="connsiteY3" fmla="*/ 7127631 h 71276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20861" h="7127631">
                <a:moveTo>
                  <a:pt x="0" y="0"/>
                </a:moveTo>
                <a:lnTo>
                  <a:pt x="5720861" y="0"/>
                </a:lnTo>
                <a:lnTo>
                  <a:pt x="5720861" y="7127631"/>
                </a:lnTo>
                <a:lnTo>
                  <a:pt x="0" y="7127631"/>
                </a:lnTo>
                <a:close/>
              </a:path>
            </a:pathLst>
          </a:custGeom>
          <a:pattFill prst="pct60">
            <a:fgClr>
              <a:srgbClr val="FFFFFF"/>
            </a:fgClr>
            <a:bgClr>
              <a:srgbClr val="E6E9EE"/>
            </a:bgClr>
          </a:pattFill>
        </p:spPr>
        <p:txBody>
          <a:bodyPr anchor="ctr"/>
          <a:lstStyle>
            <a:lvl1pPr>
              <a:defRPr lang="en-US"/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122127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9268464A-15E7-4D9B-AD60-34512335592F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6381903" y="1989641"/>
            <a:ext cx="2571847" cy="3541908"/>
          </a:xfrm>
          <a:custGeom>
            <a:avLst/>
            <a:gdLst>
              <a:gd name="connsiteX0" fmla="*/ 0 w 5144364"/>
              <a:gd name="connsiteY0" fmla="*/ 0 h 7083816"/>
              <a:gd name="connsiteX1" fmla="*/ 5144364 w 5144364"/>
              <a:gd name="connsiteY1" fmla="*/ 0 h 7083816"/>
              <a:gd name="connsiteX2" fmla="*/ 5144364 w 5144364"/>
              <a:gd name="connsiteY2" fmla="*/ 7083816 h 7083816"/>
              <a:gd name="connsiteX3" fmla="*/ 0 w 5144364"/>
              <a:gd name="connsiteY3" fmla="*/ 7083816 h 70838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44364" h="7083816">
                <a:moveTo>
                  <a:pt x="0" y="0"/>
                </a:moveTo>
                <a:lnTo>
                  <a:pt x="5144364" y="0"/>
                </a:lnTo>
                <a:lnTo>
                  <a:pt x="5144364" y="7083816"/>
                </a:lnTo>
                <a:lnTo>
                  <a:pt x="0" y="7083816"/>
                </a:lnTo>
                <a:close/>
              </a:path>
            </a:pathLst>
          </a:custGeom>
          <a:pattFill prst="pct60">
            <a:fgClr>
              <a:srgbClr val="FFFFFF"/>
            </a:fgClr>
            <a:bgClr>
              <a:srgbClr val="E6E9EE"/>
            </a:bgClr>
          </a:pattFill>
        </p:spPr>
        <p:txBody>
          <a:bodyPr anchor="ctr"/>
          <a:lstStyle>
            <a:lvl1pPr>
              <a:defRPr lang="en-US"/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017298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4586C5A2-21C0-4124-8346-6F4224A77D4D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1559699" y="1721223"/>
            <a:ext cx="2944479" cy="1640541"/>
          </a:xfrm>
          <a:custGeom>
            <a:avLst/>
            <a:gdLst>
              <a:gd name="connsiteX0" fmla="*/ 0 w 5889724"/>
              <a:gd name="connsiteY0" fmla="*/ 0 h 3281082"/>
              <a:gd name="connsiteX1" fmla="*/ 5889724 w 5889724"/>
              <a:gd name="connsiteY1" fmla="*/ 0 h 3281082"/>
              <a:gd name="connsiteX2" fmla="*/ 5889724 w 5889724"/>
              <a:gd name="connsiteY2" fmla="*/ 3281082 h 3281082"/>
              <a:gd name="connsiteX3" fmla="*/ 4598808 w 5889724"/>
              <a:gd name="connsiteY3" fmla="*/ 3281082 h 3281082"/>
              <a:gd name="connsiteX4" fmla="*/ 726142 w 5889724"/>
              <a:gd name="connsiteY4" fmla="*/ 3281082 h 3281082"/>
              <a:gd name="connsiteX5" fmla="*/ 0 w 5889724"/>
              <a:gd name="connsiteY5" fmla="*/ 3281082 h 32810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889724" h="3281082">
                <a:moveTo>
                  <a:pt x="0" y="0"/>
                </a:moveTo>
                <a:lnTo>
                  <a:pt x="5889724" y="0"/>
                </a:lnTo>
                <a:lnTo>
                  <a:pt x="5889724" y="3281082"/>
                </a:lnTo>
                <a:lnTo>
                  <a:pt x="4598808" y="3281082"/>
                </a:lnTo>
                <a:lnTo>
                  <a:pt x="726142" y="3281082"/>
                </a:lnTo>
                <a:lnTo>
                  <a:pt x="0" y="3281082"/>
                </a:lnTo>
                <a:close/>
              </a:path>
            </a:pathLst>
          </a:custGeom>
          <a:pattFill prst="pct60">
            <a:fgClr>
              <a:srgbClr val="FFFFFF"/>
            </a:fgClr>
            <a:bgClr>
              <a:srgbClr val="E6E9EE"/>
            </a:bgClr>
          </a:pattFill>
        </p:spPr>
        <p:txBody>
          <a:bodyPr anchor="ctr"/>
          <a:lstStyle>
            <a:lvl1pPr>
              <a:defRPr lang="en-US"/>
            </a:lvl1pPr>
          </a:lstStyle>
          <a:p>
            <a:pPr lvl="0"/>
            <a:endParaRPr lang="en-US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1227DA8D-2981-4111-A228-A72FCA3F9705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4849847" y="1721223"/>
            <a:ext cx="2944479" cy="1640541"/>
          </a:xfrm>
          <a:custGeom>
            <a:avLst/>
            <a:gdLst>
              <a:gd name="connsiteX0" fmla="*/ 0 w 5889724"/>
              <a:gd name="connsiteY0" fmla="*/ 0 h 3281082"/>
              <a:gd name="connsiteX1" fmla="*/ 5889724 w 5889724"/>
              <a:gd name="connsiteY1" fmla="*/ 0 h 3281082"/>
              <a:gd name="connsiteX2" fmla="*/ 5889724 w 5889724"/>
              <a:gd name="connsiteY2" fmla="*/ 3281082 h 3281082"/>
              <a:gd name="connsiteX3" fmla="*/ 0 w 5889724"/>
              <a:gd name="connsiteY3" fmla="*/ 3281082 h 32810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889724" h="3281082">
                <a:moveTo>
                  <a:pt x="0" y="0"/>
                </a:moveTo>
                <a:lnTo>
                  <a:pt x="5889724" y="0"/>
                </a:lnTo>
                <a:lnTo>
                  <a:pt x="5889724" y="3281082"/>
                </a:lnTo>
                <a:lnTo>
                  <a:pt x="0" y="3281082"/>
                </a:lnTo>
                <a:close/>
              </a:path>
            </a:pathLst>
          </a:custGeom>
          <a:pattFill prst="pct60">
            <a:fgClr>
              <a:srgbClr val="FFFFFF"/>
            </a:fgClr>
            <a:bgClr>
              <a:srgbClr val="E6E9EE"/>
            </a:bgClr>
          </a:pattFill>
        </p:spPr>
        <p:txBody>
          <a:bodyPr anchor="ctr"/>
          <a:lstStyle>
            <a:lvl1pPr>
              <a:defRPr lang="en-US"/>
            </a:lvl1pPr>
          </a:lstStyle>
          <a:p>
            <a:pPr lvl="0"/>
            <a:endParaRPr lang="en-US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656C2B7F-79ED-47F6-8F62-450E015B464A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8139997" y="1721223"/>
            <a:ext cx="2944478" cy="1640541"/>
          </a:xfrm>
          <a:custGeom>
            <a:avLst/>
            <a:gdLst>
              <a:gd name="connsiteX0" fmla="*/ 0 w 5889723"/>
              <a:gd name="connsiteY0" fmla="*/ 0 h 3281082"/>
              <a:gd name="connsiteX1" fmla="*/ 5889723 w 5889723"/>
              <a:gd name="connsiteY1" fmla="*/ 0 h 3281082"/>
              <a:gd name="connsiteX2" fmla="*/ 5889723 w 5889723"/>
              <a:gd name="connsiteY2" fmla="*/ 3281082 h 3281082"/>
              <a:gd name="connsiteX3" fmla="*/ 0 w 5889723"/>
              <a:gd name="connsiteY3" fmla="*/ 3281082 h 32810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889723" h="3281082">
                <a:moveTo>
                  <a:pt x="0" y="0"/>
                </a:moveTo>
                <a:lnTo>
                  <a:pt x="5889723" y="0"/>
                </a:lnTo>
                <a:lnTo>
                  <a:pt x="5889723" y="3281082"/>
                </a:lnTo>
                <a:lnTo>
                  <a:pt x="0" y="3281082"/>
                </a:lnTo>
                <a:close/>
              </a:path>
            </a:pathLst>
          </a:custGeom>
          <a:pattFill prst="pct60">
            <a:fgClr>
              <a:srgbClr val="FFFFFF"/>
            </a:fgClr>
            <a:bgClr>
              <a:srgbClr val="E6E9EE"/>
            </a:bgClr>
          </a:pattFill>
        </p:spPr>
        <p:txBody>
          <a:bodyPr anchor="ctr"/>
          <a:lstStyle>
            <a:lvl1pPr>
              <a:defRPr lang="en-US"/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0972244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3" presetClass="entr" presetSubtype="28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/3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/3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3" presetClass="entr" presetSubtype="288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/3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/3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3" presetClass="entr" presetSubtype="288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/3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/3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2" grpId="0" animBg="1"/>
      <p:bldP spid="14" grpId="0" animBg="1"/>
    </p:bld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D3D70656-C88E-47A8-AF4E-6796ABD03767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336144" y="1481328"/>
            <a:ext cx="2224520" cy="1880437"/>
          </a:xfrm>
          <a:custGeom>
            <a:avLst/>
            <a:gdLst>
              <a:gd name="connsiteX0" fmla="*/ 0 w 4449620"/>
              <a:gd name="connsiteY0" fmla="*/ 0 h 3760873"/>
              <a:gd name="connsiteX1" fmla="*/ 4449620 w 4449620"/>
              <a:gd name="connsiteY1" fmla="*/ 0 h 3760873"/>
              <a:gd name="connsiteX2" fmla="*/ 4449620 w 4449620"/>
              <a:gd name="connsiteY2" fmla="*/ 3760873 h 3760873"/>
              <a:gd name="connsiteX3" fmla="*/ 0 w 4449620"/>
              <a:gd name="connsiteY3" fmla="*/ 3760873 h 3760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449620" h="3760873">
                <a:moveTo>
                  <a:pt x="0" y="0"/>
                </a:moveTo>
                <a:lnTo>
                  <a:pt x="4449620" y="0"/>
                </a:lnTo>
                <a:lnTo>
                  <a:pt x="4449620" y="3760873"/>
                </a:lnTo>
                <a:lnTo>
                  <a:pt x="0" y="3760873"/>
                </a:lnTo>
                <a:close/>
              </a:path>
            </a:pathLst>
          </a:custGeom>
          <a:pattFill prst="pct60">
            <a:fgClr>
              <a:srgbClr val="FFFFFF"/>
            </a:fgClr>
            <a:bgClr>
              <a:srgbClr val="E6E9EE"/>
            </a:bgClr>
          </a:pattFill>
        </p:spPr>
        <p:txBody>
          <a:bodyPr anchor="ctr"/>
          <a:lstStyle>
            <a:lvl1pPr>
              <a:defRPr lang="en-US"/>
            </a:lvl1pPr>
          </a:lstStyle>
          <a:p>
            <a:pPr lvl="0"/>
            <a:endParaRPr lang="en-US"/>
          </a:p>
        </p:txBody>
      </p:sp>
      <p:sp>
        <p:nvSpPr>
          <p:cNvPr id="18" name="Picture Placeholder 17">
            <a:extLst>
              <a:ext uri="{FF2B5EF4-FFF2-40B4-BE49-F238E27FC236}">
                <a16:creationId xmlns:a16="http://schemas.microsoft.com/office/drawing/2014/main" id="{2C696FB3-7798-452D-A70D-9F9025FD10F5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2659942" y="1481328"/>
            <a:ext cx="2224520" cy="1880437"/>
          </a:xfrm>
          <a:custGeom>
            <a:avLst/>
            <a:gdLst>
              <a:gd name="connsiteX0" fmla="*/ 0 w 4449620"/>
              <a:gd name="connsiteY0" fmla="*/ 0 h 3760873"/>
              <a:gd name="connsiteX1" fmla="*/ 4449620 w 4449620"/>
              <a:gd name="connsiteY1" fmla="*/ 0 h 3760873"/>
              <a:gd name="connsiteX2" fmla="*/ 4449620 w 4449620"/>
              <a:gd name="connsiteY2" fmla="*/ 3760873 h 3760873"/>
              <a:gd name="connsiteX3" fmla="*/ 0 w 4449620"/>
              <a:gd name="connsiteY3" fmla="*/ 3760873 h 3760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449620" h="3760873">
                <a:moveTo>
                  <a:pt x="0" y="0"/>
                </a:moveTo>
                <a:lnTo>
                  <a:pt x="4449620" y="0"/>
                </a:lnTo>
                <a:lnTo>
                  <a:pt x="4449620" y="3760873"/>
                </a:lnTo>
                <a:lnTo>
                  <a:pt x="0" y="3760873"/>
                </a:lnTo>
                <a:close/>
              </a:path>
            </a:pathLst>
          </a:custGeom>
          <a:pattFill prst="pct60">
            <a:fgClr>
              <a:srgbClr val="FFFFFF"/>
            </a:fgClr>
            <a:bgClr>
              <a:srgbClr val="E6E9EE"/>
            </a:bgClr>
          </a:pattFill>
        </p:spPr>
        <p:txBody>
          <a:bodyPr anchor="ctr"/>
          <a:lstStyle>
            <a:lvl1pPr>
              <a:defRPr lang="en-US"/>
            </a:lvl1pPr>
          </a:lstStyle>
          <a:p>
            <a:pPr lvl="0"/>
            <a:endParaRPr lang="en-US"/>
          </a:p>
        </p:txBody>
      </p:sp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20011766-26D5-4106-9378-06DEFFB04B69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4983739" y="1481328"/>
            <a:ext cx="2224520" cy="1880437"/>
          </a:xfrm>
          <a:custGeom>
            <a:avLst/>
            <a:gdLst>
              <a:gd name="connsiteX0" fmla="*/ 0 w 4449620"/>
              <a:gd name="connsiteY0" fmla="*/ 0 h 3760873"/>
              <a:gd name="connsiteX1" fmla="*/ 4449620 w 4449620"/>
              <a:gd name="connsiteY1" fmla="*/ 0 h 3760873"/>
              <a:gd name="connsiteX2" fmla="*/ 4449620 w 4449620"/>
              <a:gd name="connsiteY2" fmla="*/ 3760873 h 3760873"/>
              <a:gd name="connsiteX3" fmla="*/ 0 w 4449620"/>
              <a:gd name="connsiteY3" fmla="*/ 3760873 h 3760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449620" h="3760873">
                <a:moveTo>
                  <a:pt x="0" y="0"/>
                </a:moveTo>
                <a:lnTo>
                  <a:pt x="4449620" y="0"/>
                </a:lnTo>
                <a:lnTo>
                  <a:pt x="4449620" y="3760873"/>
                </a:lnTo>
                <a:lnTo>
                  <a:pt x="0" y="3760873"/>
                </a:lnTo>
                <a:close/>
              </a:path>
            </a:pathLst>
          </a:custGeom>
          <a:pattFill prst="pct60">
            <a:fgClr>
              <a:srgbClr val="FFFFFF"/>
            </a:fgClr>
            <a:bgClr>
              <a:srgbClr val="E6E9EE"/>
            </a:bgClr>
          </a:pattFill>
        </p:spPr>
        <p:txBody>
          <a:bodyPr anchor="ctr"/>
          <a:lstStyle>
            <a:lvl1pPr>
              <a:defRPr lang="en-US"/>
            </a:lvl1pPr>
          </a:lstStyle>
          <a:p>
            <a:pPr lvl="0"/>
            <a:endParaRPr lang="en-US"/>
          </a:p>
        </p:txBody>
      </p:sp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AEA1BFBE-A9BC-46DF-B192-ABC87F485ECD}"/>
              </a:ext>
            </a:extLst>
          </p:cNvPr>
          <p:cNvSpPr>
            <a:spLocks noGrp="1"/>
          </p:cNvSpPr>
          <p:nvPr>
            <p:ph type="pic" sz="quarter" idx="43"/>
          </p:nvPr>
        </p:nvSpPr>
        <p:spPr>
          <a:xfrm>
            <a:off x="7307537" y="1481328"/>
            <a:ext cx="2224520" cy="1880437"/>
          </a:xfrm>
          <a:custGeom>
            <a:avLst/>
            <a:gdLst>
              <a:gd name="connsiteX0" fmla="*/ 0 w 4449619"/>
              <a:gd name="connsiteY0" fmla="*/ 0 h 3760873"/>
              <a:gd name="connsiteX1" fmla="*/ 4449619 w 4449619"/>
              <a:gd name="connsiteY1" fmla="*/ 0 h 3760873"/>
              <a:gd name="connsiteX2" fmla="*/ 4449619 w 4449619"/>
              <a:gd name="connsiteY2" fmla="*/ 3760873 h 3760873"/>
              <a:gd name="connsiteX3" fmla="*/ 0 w 4449619"/>
              <a:gd name="connsiteY3" fmla="*/ 3760873 h 3760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449619" h="3760873">
                <a:moveTo>
                  <a:pt x="0" y="0"/>
                </a:moveTo>
                <a:lnTo>
                  <a:pt x="4449619" y="0"/>
                </a:lnTo>
                <a:lnTo>
                  <a:pt x="4449619" y="3760873"/>
                </a:lnTo>
                <a:lnTo>
                  <a:pt x="0" y="3760873"/>
                </a:lnTo>
                <a:close/>
              </a:path>
            </a:pathLst>
          </a:custGeom>
          <a:pattFill prst="pct60">
            <a:fgClr>
              <a:srgbClr val="FFFFFF"/>
            </a:fgClr>
            <a:bgClr>
              <a:srgbClr val="E6E9EE"/>
            </a:bgClr>
          </a:pattFill>
        </p:spPr>
        <p:txBody>
          <a:bodyPr anchor="ctr"/>
          <a:lstStyle>
            <a:lvl1pPr>
              <a:defRPr lang="en-US"/>
            </a:lvl1pPr>
          </a:lstStyle>
          <a:p>
            <a:pPr lvl="0"/>
            <a:endParaRPr lang="en-US"/>
          </a:p>
        </p:txBody>
      </p:sp>
      <p:sp>
        <p:nvSpPr>
          <p:cNvPr id="21" name="Picture Placeholder 20">
            <a:extLst>
              <a:ext uri="{FF2B5EF4-FFF2-40B4-BE49-F238E27FC236}">
                <a16:creationId xmlns:a16="http://schemas.microsoft.com/office/drawing/2014/main" id="{5B7D466C-A520-4902-99C4-B78E98A6E6CB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9631334" y="1481328"/>
            <a:ext cx="2224520" cy="1880437"/>
          </a:xfrm>
          <a:custGeom>
            <a:avLst/>
            <a:gdLst>
              <a:gd name="connsiteX0" fmla="*/ 0 w 4449620"/>
              <a:gd name="connsiteY0" fmla="*/ 0 h 3760873"/>
              <a:gd name="connsiteX1" fmla="*/ 4449620 w 4449620"/>
              <a:gd name="connsiteY1" fmla="*/ 0 h 3760873"/>
              <a:gd name="connsiteX2" fmla="*/ 4449620 w 4449620"/>
              <a:gd name="connsiteY2" fmla="*/ 3760873 h 3760873"/>
              <a:gd name="connsiteX3" fmla="*/ 0 w 4449620"/>
              <a:gd name="connsiteY3" fmla="*/ 3760873 h 3760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449620" h="3760873">
                <a:moveTo>
                  <a:pt x="0" y="0"/>
                </a:moveTo>
                <a:lnTo>
                  <a:pt x="4449620" y="0"/>
                </a:lnTo>
                <a:lnTo>
                  <a:pt x="4449620" y="3760873"/>
                </a:lnTo>
                <a:lnTo>
                  <a:pt x="0" y="3760873"/>
                </a:lnTo>
                <a:close/>
              </a:path>
            </a:pathLst>
          </a:custGeom>
          <a:pattFill prst="pct60">
            <a:fgClr>
              <a:srgbClr val="FFFFFF"/>
            </a:fgClr>
            <a:bgClr>
              <a:srgbClr val="E6E9EE"/>
            </a:bgClr>
          </a:pattFill>
        </p:spPr>
        <p:txBody>
          <a:bodyPr anchor="ctr"/>
          <a:lstStyle>
            <a:lvl1pPr>
              <a:defRPr lang="en-US"/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3988792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3" presetClass="entr" presetSubtype="28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/3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/3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3" presetClass="entr" presetSubtype="288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/3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/3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3" presetClass="entr" presetSubtype="288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/3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/3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3" presetClass="entr" presetSubtype="288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/3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/3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3" presetClass="entr" presetSubtype="288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/3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/3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 animBg="1"/>
      <p:bldP spid="18" grpId="0" animBg="1"/>
      <p:bldP spid="19" grpId="0" animBg="1"/>
      <p:bldP spid="20" grpId="0" animBg="1"/>
      <p:bldP spid="21" grpId="0" animBg="1"/>
    </p:bld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Picture Placeholder 36">
            <a:extLst>
              <a:ext uri="{FF2B5EF4-FFF2-40B4-BE49-F238E27FC236}">
                <a16:creationId xmlns:a16="http://schemas.microsoft.com/office/drawing/2014/main" id="{2DED6899-EE35-4C9F-85BC-2800893A7A01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1100787" y="1914525"/>
            <a:ext cx="952376" cy="952500"/>
          </a:xfrm>
          <a:custGeom>
            <a:avLst/>
            <a:gdLst>
              <a:gd name="connsiteX0" fmla="*/ 0 w 1905000"/>
              <a:gd name="connsiteY0" fmla="*/ 0 h 1905000"/>
              <a:gd name="connsiteX1" fmla="*/ 1905000 w 1905000"/>
              <a:gd name="connsiteY1" fmla="*/ 0 h 1905000"/>
              <a:gd name="connsiteX2" fmla="*/ 1905000 w 1905000"/>
              <a:gd name="connsiteY2" fmla="*/ 1905000 h 1905000"/>
              <a:gd name="connsiteX3" fmla="*/ 0 w 1905000"/>
              <a:gd name="connsiteY3" fmla="*/ 1905000 h 190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05000" h="1905000">
                <a:moveTo>
                  <a:pt x="0" y="0"/>
                </a:moveTo>
                <a:lnTo>
                  <a:pt x="1905000" y="0"/>
                </a:lnTo>
                <a:lnTo>
                  <a:pt x="1905000" y="1905000"/>
                </a:lnTo>
                <a:lnTo>
                  <a:pt x="0" y="1905000"/>
                </a:lnTo>
                <a:close/>
              </a:path>
            </a:pathLst>
          </a:custGeom>
          <a:pattFill prst="pct60">
            <a:fgClr>
              <a:srgbClr val="FFFFFF"/>
            </a:fgClr>
            <a:bgClr>
              <a:srgbClr val="C1C9D5"/>
            </a:bgClr>
          </a:pattFill>
          <a:effectLst>
            <a:outerShdw dist="88900" dir="10800000" sx="99000" sy="99000" algn="r" rotWithShape="0">
              <a:schemeClr val="accent1"/>
            </a:outerShdw>
          </a:effectLst>
          <a:scene3d>
            <a:camera prst="isometricOffAxis1Top">
              <a:rot lat="0" lon="0" rev="0"/>
            </a:camera>
            <a:lightRig rig="threePt" dir="t"/>
          </a:scene3d>
        </p:spPr>
        <p:txBody>
          <a:bodyPr wrap="square" anchor="t">
            <a:noAutofit/>
          </a:bodyPr>
          <a:lstStyle>
            <a:lvl1pPr marL="0" indent="0" algn="ctr">
              <a:buNone/>
              <a:defRPr sz="1000"/>
            </a:lvl1pPr>
          </a:lstStyle>
          <a:p>
            <a:endParaRPr lang="en-US"/>
          </a:p>
        </p:txBody>
      </p:sp>
      <p:sp>
        <p:nvSpPr>
          <p:cNvPr id="38" name="Picture Placeholder 37">
            <a:extLst>
              <a:ext uri="{FF2B5EF4-FFF2-40B4-BE49-F238E27FC236}">
                <a16:creationId xmlns:a16="http://schemas.microsoft.com/office/drawing/2014/main" id="{C8CD014F-DCFE-440B-9C46-DE5E50FC1AC8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4429341" y="1914525"/>
            <a:ext cx="952376" cy="952500"/>
          </a:xfrm>
          <a:custGeom>
            <a:avLst/>
            <a:gdLst>
              <a:gd name="connsiteX0" fmla="*/ 0 w 1905000"/>
              <a:gd name="connsiteY0" fmla="*/ 0 h 1905000"/>
              <a:gd name="connsiteX1" fmla="*/ 1905000 w 1905000"/>
              <a:gd name="connsiteY1" fmla="*/ 0 h 1905000"/>
              <a:gd name="connsiteX2" fmla="*/ 1905000 w 1905000"/>
              <a:gd name="connsiteY2" fmla="*/ 1905000 h 1905000"/>
              <a:gd name="connsiteX3" fmla="*/ 0 w 1905000"/>
              <a:gd name="connsiteY3" fmla="*/ 1905000 h 190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05000" h="1905000">
                <a:moveTo>
                  <a:pt x="0" y="0"/>
                </a:moveTo>
                <a:lnTo>
                  <a:pt x="1905000" y="0"/>
                </a:lnTo>
                <a:lnTo>
                  <a:pt x="1905000" y="1905000"/>
                </a:lnTo>
                <a:lnTo>
                  <a:pt x="0" y="1905000"/>
                </a:lnTo>
                <a:close/>
              </a:path>
            </a:pathLst>
          </a:custGeom>
          <a:pattFill prst="pct60">
            <a:fgClr>
              <a:srgbClr val="FFFFFF"/>
            </a:fgClr>
            <a:bgClr>
              <a:srgbClr val="C1C9D5"/>
            </a:bgClr>
          </a:pattFill>
          <a:effectLst>
            <a:outerShdw dist="88900" dir="10800000" sx="99000" sy="99000" algn="r" rotWithShape="0">
              <a:schemeClr val="accent4"/>
            </a:outerShdw>
          </a:effectLst>
          <a:scene3d>
            <a:camera prst="isometricOffAxis1Top">
              <a:rot lat="0" lon="0" rev="0"/>
            </a:camera>
            <a:lightRig rig="threePt" dir="t"/>
          </a:scene3d>
        </p:spPr>
        <p:txBody>
          <a:bodyPr wrap="square" anchor="t">
            <a:noAutofit/>
          </a:bodyPr>
          <a:lstStyle>
            <a:lvl1pPr marL="0" indent="0" algn="ctr">
              <a:buNone/>
              <a:defRPr sz="1000"/>
            </a:lvl1pPr>
          </a:lstStyle>
          <a:p>
            <a:endParaRPr lang="en-US"/>
          </a:p>
        </p:txBody>
      </p:sp>
      <p:sp>
        <p:nvSpPr>
          <p:cNvPr id="39" name="Picture Placeholder 38">
            <a:extLst>
              <a:ext uri="{FF2B5EF4-FFF2-40B4-BE49-F238E27FC236}">
                <a16:creationId xmlns:a16="http://schemas.microsoft.com/office/drawing/2014/main" id="{F25211DE-2900-41DB-94E0-DADC7578762E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7757895" y="1914525"/>
            <a:ext cx="952376" cy="952500"/>
          </a:xfrm>
          <a:custGeom>
            <a:avLst/>
            <a:gdLst>
              <a:gd name="connsiteX0" fmla="*/ 0 w 1905000"/>
              <a:gd name="connsiteY0" fmla="*/ 0 h 1905000"/>
              <a:gd name="connsiteX1" fmla="*/ 1905000 w 1905000"/>
              <a:gd name="connsiteY1" fmla="*/ 0 h 1905000"/>
              <a:gd name="connsiteX2" fmla="*/ 1905000 w 1905000"/>
              <a:gd name="connsiteY2" fmla="*/ 1905000 h 1905000"/>
              <a:gd name="connsiteX3" fmla="*/ 0 w 1905000"/>
              <a:gd name="connsiteY3" fmla="*/ 1905000 h 190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05000" h="1905000">
                <a:moveTo>
                  <a:pt x="0" y="0"/>
                </a:moveTo>
                <a:lnTo>
                  <a:pt x="1905000" y="0"/>
                </a:lnTo>
                <a:lnTo>
                  <a:pt x="1905000" y="1905000"/>
                </a:lnTo>
                <a:lnTo>
                  <a:pt x="0" y="1905000"/>
                </a:lnTo>
                <a:close/>
              </a:path>
            </a:pathLst>
          </a:custGeom>
          <a:pattFill prst="pct60">
            <a:fgClr>
              <a:srgbClr val="FFFFFF"/>
            </a:fgClr>
            <a:bgClr>
              <a:srgbClr val="C1C9D5"/>
            </a:bgClr>
          </a:pattFill>
          <a:effectLst>
            <a:outerShdw dist="88900" dir="10800000" sx="99000" sy="99000" algn="r" rotWithShape="0">
              <a:schemeClr val="tx2"/>
            </a:outerShdw>
          </a:effectLst>
          <a:scene3d>
            <a:camera prst="isometricOffAxis1Top">
              <a:rot lat="0" lon="0" rev="0"/>
            </a:camera>
            <a:lightRig rig="threePt" dir="t"/>
          </a:scene3d>
        </p:spPr>
        <p:txBody>
          <a:bodyPr wrap="square" anchor="t">
            <a:noAutofit/>
          </a:bodyPr>
          <a:lstStyle>
            <a:lvl1pPr marL="0" indent="0" algn="ctr">
              <a:buNone/>
              <a:defRPr sz="1000"/>
            </a:lvl1pPr>
          </a:lstStyle>
          <a:p>
            <a:endParaRPr lang="en-US"/>
          </a:p>
        </p:txBody>
      </p:sp>
      <p:sp>
        <p:nvSpPr>
          <p:cNvPr id="40" name="Picture Placeholder 39">
            <a:extLst>
              <a:ext uri="{FF2B5EF4-FFF2-40B4-BE49-F238E27FC236}">
                <a16:creationId xmlns:a16="http://schemas.microsoft.com/office/drawing/2014/main" id="{0051C6DB-32A3-4464-AE10-5633A7CE53C8}"/>
              </a:ext>
            </a:extLst>
          </p:cNvPr>
          <p:cNvSpPr>
            <a:spLocks noGrp="1"/>
          </p:cNvSpPr>
          <p:nvPr>
            <p:ph type="pic" sz="quarter" idx="43"/>
          </p:nvPr>
        </p:nvSpPr>
        <p:spPr>
          <a:xfrm>
            <a:off x="1100787" y="3262312"/>
            <a:ext cx="952376" cy="952500"/>
          </a:xfrm>
          <a:custGeom>
            <a:avLst/>
            <a:gdLst>
              <a:gd name="connsiteX0" fmla="*/ 0 w 1905000"/>
              <a:gd name="connsiteY0" fmla="*/ 0 h 1905000"/>
              <a:gd name="connsiteX1" fmla="*/ 1905000 w 1905000"/>
              <a:gd name="connsiteY1" fmla="*/ 0 h 1905000"/>
              <a:gd name="connsiteX2" fmla="*/ 1905000 w 1905000"/>
              <a:gd name="connsiteY2" fmla="*/ 1905000 h 1905000"/>
              <a:gd name="connsiteX3" fmla="*/ 0 w 1905000"/>
              <a:gd name="connsiteY3" fmla="*/ 1905000 h 190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05000" h="1905000">
                <a:moveTo>
                  <a:pt x="0" y="0"/>
                </a:moveTo>
                <a:lnTo>
                  <a:pt x="1905000" y="0"/>
                </a:lnTo>
                <a:lnTo>
                  <a:pt x="1905000" y="1905000"/>
                </a:lnTo>
                <a:lnTo>
                  <a:pt x="0" y="1905000"/>
                </a:lnTo>
                <a:close/>
              </a:path>
            </a:pathLst>
          </a:custGeom>
          <a:pattFill prst="pct60">
            <a:fgClr>
              <a:srgbClr val="FFFFFF"/>
            </a:fgClr>
            <a:bgClr>
              <a:srgbClr val="C1C9D5"/>
            </a:bgClr>
          </a:pattFill>
          <a:effectLst>
            <a:outerShdw dist="88900" dir="10800000" sx="99000" sy="99000" algn="r" rotWithShape="0">
              <a:schemeClr val="accent1"/>
            </a:outerShdw>
          </a:effectLst>
          <a:scene3d>
            <a:camera prst="isometricOffAxis1Top">
              <a:rot lat="0" lon="0" rev="0"/>
            </a:camera>
            <a:lightRig rig="threePt" dir="t"/>
          </a:scene3d>
        </p:spPr>
        <p:txBody>
          <a:bodyPr wrap="square" anchor="t">
            <a:noAutofit/>
          </a:bodyPr>
          <a:lstStyle>
            <a:lvl1pPr marL="0" indent="0" algn="ctr">
              <a:buNone/>
              <a:defRPr sz="1000"/>
            </a:lvl1pPr>
          </a:lstStyle>
          <a:p>
            <a:endParaRPr lang="en-US"/>
          </a:p>
        </p:txBody>
      </p:sp>
      <p:sp>
        <p:nvSpPr>
          <p:cNvPr id="41" name="Picture Placeholder 40">
            <a:extLst>
              <a:ext uri="{FF2B5EF4-FFF2-40B4-BE49-F238E27FC236}">
                <a16:creationId xmlns:a16="http://schemas.microsoft.com/office/drawing/2014/main" id="{B30DC47F-8DF3-4F33-B1B6-FF730859D681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4429341" y="3262312"/>
            <a:ext cx="952376" cy="952500"/>
          </a:xfrm>
          <a:custGeom>
            <a:avLst/>
            <a:gdLst>
              <a:gd name="connsiteX0" fmla="*/ 0 w 1905000"/>
              <a:gd name="connsiteY0" fmla="*/ 0 h 1905000"/>
              <a:gd name="connsiteX1" fmla="*/ 1905000 w 1905000"/>
              <a:gd name="connsiteY1" fmla="*/ 0 h 1905000"/>
              <a:gd name="connsiteX2" fmla="*/ 1905000 w 1905000"/>
              <a:gd name="connsiteY2" fmla="*/ 1905000 h 1905000"/>
              <a:gd name="connsiteX3" fmla="*/ 0 w 1905000"/>
              <a:gd name="connsiteY3" fmla="*/ 1905000 h 190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05000" h="1905000">
                <a:moveTo>
                  <a:pt x="0" y="0"/>
                </a:moveTo>
                <a:lnTo>
                  <a:pt x="1905000" y="0"/>
                </a:lnTo>
                <a:lnTo>
                  <a:pt x="1905000" y="1905000"/>
                </a:lnTo>
                <a:lnTo>
                  <a:pt x="0" y="1905000"/>
                </a:lnTo>
                <a:close/>
              </a:path>
            </a:pathLst>
          </a:custGeom>
          <a:pattFill prst="pct60">
            <a:fgClr>
              <a:srgbClr val="FFFFFF"/>
            </a:fgClr>
            <a:bgClr>
              <a:srgbClr val="C1C9D5"/>
            </a:bgClr>
          </a:pattFill>
          <a:effectLst>
            <a:outerShdw dist="88900" dir="10800000" sx="99000" sy="99000" algn="r" rotWithShape="0">
              <a:schemeClr val="accent4"/>
            </a:outerShdw>
          </a:effectLst>
          <a:scene3d>
            <a:camera prst="isometricOffAxis1Top">
              <a:rot lat="0" lon="0" rev="0"/>
            </a:camera>
            <a:lightRig rig="threePt" dir="t"/>
          </a:scene3d>
        </p:spPr>
        <p:txBody>
          <a:bodyPr wrap="square" anchor="t">
            <a:noAutofit/>
          </a:bodyPr>
          <a:lstStyle>
            <a:lvl1pPr marL="0" indent="0" algn="ctr">
              <a:buNone/>
              <a:defRPr sz="1000"/>
            </a:lvl1pPr>
          </a:lstStyle>
          <a:p>
            <a:endParaRPr lang="en-US"/>
          </a:p>
        </p:txBody>
      </p:sp>
      <p:sp>
        <p:nvSpPr>
          <p:cNvPr id="42" name="Picture Placeholder 41">
            <a:extLst>
              <a:ext uri="{FF2B5EF4-FFF2-40B4-BE49-F238E27FC236}">
                <a16:creationId xmlns:a16="http://schemas.microsoft.com/office/drawing/2014/main" id="{8F4643DF-0111-4FA8-BE96-A6CE1DA67C8F}"/>
              </a:ext>
            </a:extLst>
          </p:cNvPr>
          <p:cNvSpPr>
            <a:spLocks noGrp="1"/>
          </p:cNvSpPr>
          <p:nvPr>
            <p:ph type="pic" sz="quarter" idx="45"/>
          </p:nvPr>
        </p:nvSpPr>
        <p:spPr>
          <a:xfrm>
            <a:off x="7757895" y="3262312"/>
            <a:ext cx="952376" cy="952500"/>
          </a:xfrm>
          <a:custGeom>
            <a:avLst/>
            <a:gdLst>
              <a:gd name="connsiteX0" fmla="*/ 0 w 1905000"/>
              <a:gd name="connsiteY0" fmla="*/ 0 h 1905000"/>
              <a:gd name="connsiteX1" fmla="*/ 1905000 w 1905000"/>
              <a:gd name="connsiteY1" fmla="*/ 0 h 1905000"/>
              <a:gd name="connsiteX2" fmla="*/ 1905000 w 1905000"/>
              <a:gd name="connsiteY2" fmla="*/ 1905000 h 1905000"/>
              <a:gd name="connsiteX3" fmla="*/ 0 w 1905000"/>
              <a:gd name="connsiteY3" fmla="*/ 1905000 h 190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05000" h="1905000">
                <a:moveTo>
                  <a:pt x="0" y="0"/>
                </a:moveTo>
                <a:lnTo>
                  <a:pt x="1905000" y="0"/>
                </a:lnTo>
                <a:lnTo>
                  <a:pt x="1905000" y="1905000"/>
                </a:lnTo>
                <a:lnTo>
                  <a:pt x="0" y="1905000"/>
                </a:lnTo>
                <a:close/>
              </a:path>
            </a:pathLst>
          </a:custGeom>
          <a:pattFill prst="pct60">
            <a:fgClr>
              <a:srgbClr val="FFFFFF"/>
            </a:fgClr>
            <a:bgClr>
              <a:srgbClr val="C1C9D5"/>
            </a:bgClr>
          </a:pattFill>
          <a:effectLst>
            <a:outerShdw dist="88900" dir="10800000" sx="99000" sy="99000" algn="r" rotWithShape="0">
              <a:schemeClr val="tx2"/>
            </a:outerShdw>
          </a:effectLst>
          <a:scene3d>
            <a:camera prst="isometricOffAxis1Top">
              <a:rot lat="0" lon="0" rev="0"/>
            </a:camera>
            <a:lightRig rig="threePt" dir="t"/>
          </a:scene3d>
        </p:spPr>
        <p:txBody>
          <a:bodyPr wrap="square" anchor="t">
            <a:noAutofit/>
          </a:bodyPr>
          <a:lstStyle>
            <a:lvl1pPr marL="0" indent="0" algn="ctr">
              <a:buNone/>
              <a:defRPr sz="1000"/>
            </a:lvl1pPr>
          </a:lstStyle>
          <a:p>
            <a:endParaRPr lang="en-US"/>
          </a:p>
        </p:txBody>
      </p:sp>
      <p:sp>
        <p:nvSpPr>
          <p:cNvPr id="43" name="Picture Placeholder 42">
            <a:extLst>
              <a:ext uri="{FF2B5EF4-FFF2-40B4-BE49-F238E27FC236}">
                <a16:creationId xmlns:a16="http://schemas.microsoft.com/office/drawing/2014/main" id="{095EDDFA-6EB5-48D5-94C9-9CC6B10491F1}"/>
              </a:ext>
            </a:extLst>
          </p:cNvPr>
          <p:cNvSpPr>
            <a:spLocks noGrp="1"/>
          </p:cNvSpPr>
          <p:nvPr>
            <p:ph type="pic" sz="quarter" idx="46"/>
          </p:nvPr>
        </p:nvSpPr>
        <p:spPr>
          <a:xfrm>
            <a:off x="1100787" y="4610100"/>
            <a:ext cx="952376" cy="952500"/>
          </a:xfrm>
          <a:custGeom>
            <a:avLst/>
            <a:gdLst>
              <a:gd name="connsiteX0" fmla="*/ 0 w 1905000"/>
              <a:gd name="connsiteY0" fmla="*/ 0 h 1905000"/>
              <a:gd name="connsiteX1" fmla="*/ 1905000 w 1905000"/>
              <a:gd name="connsiteY1" fmla="*/ 0 h 1905000"/>
              <a:gd name="connsiteX2" fmla="*/ 1905000 w 1905000"/>
              <a:gd name="connsiteY2" fmla="*/ 1905000 h 1905000"/>
              <a:gd name="connsiteX3" fmla="*/ 0 w 1905000"/>
              <a:gd name="connsiteY3" fmla="*/ 1905000 h 190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05000" h="1905000">
                <a:moveTo>
                  <a:pt x="0" y="0"/>
                </a:moveTo>
                <a:lnTo>
                  <a:pt x="1905000" y="0"/>
                </a:lnTo>
                <a:lnTo>
                  <a:pt x="1905000" y="1905000"/>
                </a:lnTo>
                <a:lnTo>
                  <a:pt x="0" y="1905000"/>
                </a:lnTo>
                <a:close/>
              </a:path>
            </a:pathLst>
          </a:custGeom>
          <a:pattFill prst="pct60">
            <a:fgClr>
              <a:srgbClr val="FFFFFF"/>
            </a:fgClr>
            <a:bgClr>
              <a:srgbClr val="C1C9D5"/>
            </a:bgClr>
          </a:pattFill>
          <a:effectLst>
            <a:outerShdw dist="88900" dir="10800000" sx="99000" sy="99000" algn="r" rotWithShape="0">
              <a:schemeClr val="accent1"/>
            </a:outerShdw>
          </a:effectLst>
          <a:scene3d>
            <a:camera prst="isometricOffAxis1Top">
              <a:rot lat="0" lon="0" rev="0"/>
            </a:camera>
            <a:lightRig rig="threePt" dir="t"/>
          </a:scene3d>
        </p:spPr>
        <p:txBody>
          <a:bodyPr wrap="square" anchor="t">
            <a:noAutofit/>
          </a:bodyPr>
          <a:lstStyle>
            <a:lvl1pPr marL="0" indent="0" algn="ctr">
              <a:buNone/>
              <a:defRPr sz="1000"/>
            </a:lvl1pPr>
          </a:lstStyle>
          <a:p>
            <a:endParaRPr lang="en-US"/>
          </a:p>
        </p:txBody>
      </p:sp>
      <p:sp>
        <p:nvSpPr>
          <p:cNvPr id="44" name="Picture Placeholder 43">
            <a:extLst>
              <a:ext uri="{FF2B5EF4-FFF2-40B4-BE49-F238E27FC236}">
                <a16:creationId xmlns:a16="http://schemas.microsoft.com/office/drawing/2014/main" id="{97A33113-4109-4E55-A5EC-1DD0D9F09F4F}"/>
              </a:ext>
            </a:extLst>
          </p:cNvPr>
          <p:cNvSpPr>
            <a:spLocks noGrp="1"/>
          </p:cNvSpPr>
          <p:nvPr>
            <p:ph type="pic" sz="quarter" idx="47"/>
          </p:nvPr>
        </p:nvSpPr>
        <p:spPr>
          <a:xfrm>
            <a:off x="4429341" y="4610100"/>
            <a:ext cx="952376" cy="952500"/>
          </a:xfrm>
          <a:custGeom>
            <a:avLst/>
            <a:gdLst>
              <a:gd name="connsiteX0" fmla="*/ 0 w 1905000"/>
              <a:gd name="connsiteY0" fmla="*/ 0 h 1905000"/>
              <a:gd name="connsiteX1" fmla="*/ 1905000 w 1905000"/>
              <a:gd name="connsiteY1" fmla="*/ 0 h 1905000"/>
              <a:gd name="connsiteX2" fmla="*/ 1905000 w 1905000"/>
              <a:gd name="connsiteY2" fmla="*/ 1905000 h 1905000"/>
              <a:gd name="connsiteX3" fmla="*/ 0 w 1905000"/>
              <a:gd name="connsiteY3" fmla="*/ 1905000 h 190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05000" h="1905000">
                <a:moveTo>
                  <a:pt x="0" y="0"/>
                </a:moveTo>
                <a:lnTo>
                  <a:pt x="1905000" y="0"/>
                </a:lnTo>
                <a:lnTo>
                  <a:pt x="1905000" y="1905000"/>
                </a:lnTo>
                <a:lnTo>
                  <a:pt x="0" y="1905000"/>
                </a:lnTo>
                <a:close/>
              </a:path>
            </a:pathLst>
          </a:custGeom>
          <a:pattFill prst="pct60">
            <a:fgClr>
              <a:srgbClr val="FFFFFF"/>
            </a:fgClr>
            <a:bgClr>
              <a:srgbClr val="C1C9D5"/>
            </a:bgClr>
          </a:pattFill>
          <a:effectLst>
            <a:outerShdw dist="88900" dir="10800000" sx="99000" sy="99000" algn="r" rotWithShape="0">
              <a:schemeClr val="accent4"/>
            </a:outerShdw>
          </a:effectLst>
          <a:scene3d>
            <a:camera prst="isometricOffAxis1Top">
              <a:rot lat="0" lon="0" rev="0"/>
            </a:camera>
            <a:lightRig rig="threePt" dir="t"/>
          </a:scene3d>
        </p:spPr>
        <p:txBody>
          <a:bodyPr wrap="square" anchor="t">
            <a:noAutofit/>
          </a:bodyPr>
          <a:lstStyle>
            <a:lvl1pPr marL="0" indent="0" algn="ctr">
              <a:buNone/>
              <a:defRPr sz="1000"/>
            </a:lvl1pPr>
          </a:lstStyle>
          <a:p>
            <a:endParaRPr lang="en-US"/>
          </a:p>
        </p:txBody>
      </p:sp>
      <p:sp>
        <p:nvSpPr>
          <p:cNvPr id="45" name="Picture Placeholder 44">
            <a:extLst>
              <a:ext uri="{FF2B5EF4-FFF2-40B4-BE49-F238E27FC236}">
                <a16:creationId xmlns:a16="http://schemas.microsoft.com/office/drawing/2014/main" id="{C9EBD72A-C4D9-488C-8B28-C748536236DA}"/>
              </a:ext>
            </a:extLst>
          </p:cNvPr>
          <p:cNvSpPr>
            <a:spLocks noGrp="1"/>
          </p:cNvSpPr>
          <p:nvPr>
            <p:ph type="pic" sz="quarter" idx="48"/>
          </p:nvPr>
        </p:nvSpPr>
        <p:spPr>
          <a:xfrm>
            <a:off x="7757895" y="4610100"/>
            <a:ext cx="952376" cy="952500"/>
          </a:xfrm>
          <a:custGeom>
            <a:avLst/>
            <a:gdLst>
              <a:gd name="connsiteX0" fmla="*/ 0 w 1905000"/>
              <a:gd name="connsiteY0" fmla="*/ 0 h 1905000"/>
              <a:gd name="connsiteX1" fmla="*/ 1905000 w 1905000"/>
              <a:gd name="connsiteY1" fmla="*/ 0 h 1905000"/>
              <a:gd name="connsiteX2" fmla="*/ 1905000 w 1905000"/>
              <a:gd name="connsiteY2" fmla="*/ 1905000 h 1905000"/>
              <a:gd name="connsiteX3" fmla="*/ 0 w 1905000"/>
              <a:gd name="connsiteY3" fmla="*/ 1905000 h 190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05000" h="1905000">
                <a:moveTo>
                  <a:pt x="0" y="0"/>
                </a:moveTo>
                <a:lnTo>
                  <a:pt x="1905000" y="0"/>
                </a:lnTo>
                <a:lnTo>
                  <a:pt x="1905000" y="1905000"/>
                </a:lnTo>
                <a:lnTo>
                  <a:pt x="0" y="1905000"/>
                </a:lnTo>
                <a:close/>
              </a:path>
            </a:pathLst>
          </a:custGeom>
          <a:pattFill prst="pct60">
            <a:fgClr>
              <a:srgbClr val="FFFFFF"/>
            </a:fgClr>
            <a:bgClr>
              <a:srgbClr val="C1C9D5"/>
            </a:bgClr>
          </a:pattFill>
          <a:effectLst>
            <a:outerShdw dist="88900" dir="10800000" sx="99000" sy="99000" algn="r" rotWithShape="0">
              <a:schemeClr val="tx2"/>
            </a:outerShdw>
          </a:effectLst>
          <a:scene3d>
            <a:camera prst="isometricOffAxis1Top">
              <a:rot lat="0" lon="0" rev="0"/>
            </a:camera>
            <a:lightRig rig="threePt" dir="t"/>
          </a:scene3d>
        </p:spPr>
        <p:txBody>
          <a:bodyPr wrap="square" anchor="t">
            <a:noAutofit/>
          </a:bodyPr>
          <a:lstStyle>
            <a:lvl1pPr marL="0" indent="0" algn="ctr">
              <a:buNone/>
              <a:defRPr sz="1000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839904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6037334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Picture Placeholder 34">
            <a:extLst>
              <a:ext uri="{FF2B5EF4-FFF2-40B4-BE49-F238E27FC236}">
                <a16:creationId xmlns:a16="http://schemas.microsoft.com/office/drawing/2014/main" id="{4BA24CCC-EDF0-4391-BDAD-5A1AC3C41ED2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513092" y="1882140"/>
            <a:ext cx="952376" cy="952500"/>
          </a:xfrm>
          <a:custGeom>
            <a:avLst/>
            <a:gdLst>
              <a:gd name="connsiteX0" fmla="*/ 0 w 1905000"/>
              <a:gd name="connsiteY0" fmla="*/ 0 h 1905000"/>
              <a:gd name="connsiteX1" fmla="*/ 1905000 w 1905000"/>
              <a:gd name="connsiteY1" fmla="*/ 0 h 1905000"/>
              <a:gd name="connsiteX2" fmla="*/ 1905000 w 1905000"/>
              <a:gd name="connsiteY2" fmla="*/ 1905000 h 1905000"/>
              <a:gd name="connsiteX3" fmla="*/ 0 w 1905000"/>
              <a:gd name="connsiteY3" fmla="*/ 1905000 h 190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05000" h="1905000">
                <a:moveTo>
                  <a:pt x="0" y="0"/>
                </a:moveTo>
                <a:lnTo>
                  <a:pt x="1905000" y="0"/>
                </a:lnTo>
                <a:lnTo>
                  <a:pt x="1905000" y="1905000"/>
                </a:lnTo>
                <a:lnTo>
                  <a:pt x="0" y="1905000"/>
                </a:lnTo>
                <a:close/>
              </a:path>
            </a:pathLst>
          </a:custGeom>
          <a:pattFill prst="pct60">
            <a:fgClr>
              <a:srgbClr val="FFFFFF"/>
            </a:fgClr>
            <a:bgClr>
              <a:srgbClr val="C1C9D5"/>
            </a:bgClr>
          </a:pattFill>
          <a:effectLst>
            <a:outerShdw dist="88900" dir="10800000" sx="99000" sy="99000" algn="r" rotWithShape="0">
              <a:schemeClr val="accent1"/>
            </a:outerShdw>
          </a:effectLst>
          <a:scene3d>
            <a:camera prst="isometricOffAxis1Top">
              <a:rot lat="0" lon="0" rev="0"/>
            </a:camera>
            <a:lightRig rig="threePt" dir="t"/>
          </a:scene3d>
        </p:spPr>
        <p:txBody>
          <a:bodyPr wrap="square" anchor="t">
            <a:noAutofit/>
          </a:bodyPr>
          <a:lstStyle>
            <a:lvl1pPr marL="0" indent="0" algn="ctr">
              <a:buNone/>
              <a:defRPr sz="1000"/>
            </a:lvl1pPr>
          </a:lstStyle>
          <a:p>
            <a:endParaRPr lang="en-US"/>
          </a:p>
        </p:txBody>
      </p:sp>
      <p:sp>
        <p:nvSpPr>
          <p:cNvPr id="36" name="Picture Placeholder 35">
            <a:extLst>
              <a:ext uri="{FF2B5EF4-FFF2-40B4-BE49-F238E27FC236}">
                <a16:creationId xmlns:a16="http://schemas.microsoft.com/office/drawing/2014/main" id="{A8C50DEA-9D79-44F2-8F00-34CE2DFBB104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3341648" y="1882140"/>
            <a:ext cx="952376" cy="952500"/>
          </a:xfrm>
          <a:custGeom>
            <a:avLst/>
            <a:gdLst>
              <a:gd name="connsiteX0" fmla="*/ 0 w 1905000"/>
              <a:gd name="connsiteY0" fmla="*/ 0 h 1905000"/>
              <a:gd name="connsiteX1" fmla="*/ 1905000 w 1905000"/>
              <a:gd name="connsiteY1" fmla="*/ 0 h 1905000"/>
              <a:gd name="connsiteX2" fmla="*/ 1905000 w 1905000"/>
              <a:gd name="connsiteY2" fmla="*/ 1905000 h 1905000"/>
              <a:gd name="connsiteX3" fmla="*/ 0 w 1905000"/>
              <a:gd name="connsiteY3" fmla="*/ 1905000 h 190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05000" h="1905000">
                <a:moveTo>
                  <a:pt x="0" y="0"/>
                </a:moveTo>
                <a:lnTo>
                  <a:pt x="1905000" y="0"/>
                </a:lnTo>
                <a:lnTo>
                  <a:pt x="1905000" y="1905000"/>
                </a:lnTo>
                <a:lnTo>
                  <a:pt x="0" y="1905000"/>
                </a:lnTo>
                <a:close/>
              </a:path>
            </a:pathLst>
          </a:custGeom>
          <a:pattFill prst="pct60">
            <a:fgClr>
              <a:srgbClr val="FFFFFF"/>
            </a:fgClr>
            <a:bgClr>
              <a:srgbClr val="C1C9D5"/>
            </a:bgClr>
          </a:pattFill>
          <a:effectLst>
            <a:outerShdw dist="88900" dir="10800000" sx="99000" sy="99000" algn="r" rotWithShape="0">
              <a:schemeClr val="accent4"/>
            </a:outerShdw>
          </a:effectLst>
          <a:scene3d>
            <a:camera prst="isometricOffAxis1Top">
              <a:rot lat="0" lon="0" rev="0"/>
            </a:camera>
            <a:lightRig rig="threePt" dir="t"/>
          </a:scene3d>
        </p:spPr>
        <p:txBody>
          <a:bodyPr wrap="square" anchor="t">
            <a:noAutofit/>
          </a:bodyPr>
          <a:lstStyle>
            <a:lvl1pPr marL="0" indent="0" algn="ctr">
              <a:buNone/>
              <a:defRPr sz="1000"/>
            </a:lvl1pPr>
          </a:lstStyle>
          <a:p>
            <a:endParaRPr lang="en-US"/>
          </a:p>
        </p:txBody>
      </p:sp>
      <p:sp>
        <p:nvSpPr>
          <p:cNvPr id="46" name="Picture Placeholder 45">
            <a:extLst>
              <a:ext uri="{FF2B5EF4-FFF2-40B4-BE49-F238E27FC236}">
                <a16:creationId xmlns:a16="http://schemas.microsoft.com/office/drawing/2014/main" id="{47C511FA-F714-464A-AC1B-9514AED5E82E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6170205" y="1882140"/>
            <a:ext cx="952376" cy="952500"/>
          </a:xfrm>
          <a:custGeom>
            <a:avLst/>
            <a:gdLst>
              <a:gd name="connsiteX0" fmla="*/ 0 w 1905000"/>
              <a:gd name="connsiteY0" fmla="*/ 0 h 1905000"/>
              <a:gd name="connsiteX1" fmla="*/ 1905000 w 1905000"/>
              <a:gd name="connsiteY1" fmla="*/ 0 h 1905000"/>
              <a:gd name="connsiteX2" fmla="*/ 1905000 w 1905000"/>
              <a:gd name="connsiteY2" fmla="*/ 1905000 h 1905000"/>
              <a:gd name="connsiteX3" fmla="*/ 0 w 1905000"/>
              <a:gd name="connsiteY3" fmla="*/ 1905000 h 190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05000" h="1905000">
                <a:moveTo>
                  <a:pt x="0" y="0"/>
                </a:moveTo>
                <a:lnTo>
                  <a:pt x="1905000" y="0"/>
                </a:lnTo>
                <a:lnTo>
                  <a:pt x="1905000" y="1905000"/>
                </a:lnTo>
                <a:lnTo>
                  <a:pt x="0" y="1905000"/>
                </a:lnTo>
                <a:close/>
              </a:path>
            </a:pathLst>
          </a:custGeom>
          <a:pattFill prst="pct60">
            <a:fgClr>
              <a:srgbClr val="FFFFFF"/>
            </a:fgClr>
            <a:bgClr>
              <a:srgbClr val="C1C9D5"/>
            </a:bgClr>
          </a:pattFill>
          <a:effectLst>
            <a:outerShdw dist="88900" dir="10800000" sx="99000" sy="99000" algn="r" rotWithShape="0">
              <a:schemeClr val="bg2"/>
            </a:outerShdw>
          </a:effectLst>
          <a:scene3d>
            <a:camera prst="isometricOffAxis1Top">
              <a:rot lat="0" lon="0" rev="0"/>
            </a:camera>
            <a:lightRig rig="threePt" dir="t"/>
          </a:scene3d>
        </p:spPr>
        <p:txBody>
          <a:bodyPr wrap="square" anchor="t">
            <a:noAutofit/>
          </a:bodyPr>
          <a:lstStyle>
            <a:lvl1pPr marL="0" indent="0" algn="ctr">
              <a:buNone/>
              <a:defRPr sz="1000"/>
            </a:lvl1pPr>
          </a:lstStyle>
          <a:p>
            <a:endParaRPr lang="en-US"/>
          </a:p>
        </p:txBody>
      </p:sp>
      <p:sp>
        <p:nvSpPr>
          <p:cNvPr id="47" name="Picture Placeholder 46">
            <a:extLst>
              <a:ext uri="{FF2B5EF4-FFF2-40B4-BE49-F238E27FC236}">
                <a16:creationId xmlns:a16="http://schemas.microsoft.com/office/drawing/2014/main" id="{9CD4A1BF-2AF8-4D45-921D-BCC417960008}"/>
              </a:ext>
            </a:extLst>
          </p:cNvPr>
          <p:cNvSpPr>
            <a:spLocks noGrp="1"/>
          </p:cNvSpPr>
          <p:nvPr>
            <p:ph type="pic" sz="quarter" idx="43"/>
          </p:nvPr>
        </p:nvSpPr>
        <p:spPr>
          <a:xfrm>
            <a:off x="8998762" y="1882140"/>
            <a:ext cx="952376" cy="952500"/>
          </a:xfrm>
          <a:custGeom>
            <a:avLst/>
            <a:gdLst>
              <a:gd name="connsiteX0" fmla="*/ 0 w 1905000"/>
              <a:gd name="connsiteY0" fmla="*/ 0 h 1905000"/>
              <a:gd name="connsiteX1" fmla="*/ 1905000 w 1905000"/>
              <a:gd name="connsiteY1" fmla="*/ 0 h 1905000"/>
              <a:gd name="connsiteX2" fmla="*/ 1905000 w 1905000"/>
              <a:gd name="connsiteY2" fmla="*/ 1905000 h 1905000"/>
              <a:gd name="connsiteX3" fmla="*/ 0 w 1905000"/>
              <a:gd name="connsiteY3" fmla="*/ 1905000 h 190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05000" h="1905000">
                <a:moveTo>
                  <a:pt x="0" y="0"/>
                </a:moveTo>
                <a:lnTo>
                  <a:pt x="1905000" y="0"/>
                </a:lnTo>
                <a:lnTo>
                  <a:pt x="1905000" y="1905000"/>
                </a:lnTo>
                <a:lnTo>
                  <a:pt x="0" y="1905000"/>
                </a:lnTo>
                <a:close/>
              </a:path>
            </a:pathLst>
          </a:custGeom>
          <a:pattFill prst="pct60">
            <a:fgClr>
              <a:srgbClr val="FFFFFF"/>
            </a:fgClr>
            <a:bgClr>
              <a:srgbClr val="C1C9D5"/>
            </a:bgClr>
          </a:pattFill>
          <a:effectLst>
            <a:outerShdw dist="88900" dir="10800000" sx="99000" sy="99000" algn="r" rotWithShape="0">
              <a:schemeClr val="tx2">
                <a:lumMod val="75000"/>
              </a:schemeClr>
            </a:outerShdw>
          </a:effectLst>
          <a:scene3d>
            <a:camera prst="isometricOffAxis1Top">
              <a:rot lat="0" lon="0" rev="0"/>
            </a:camera>
            <a:lightRig rig="threePt" dir="t"/>
          </a:scene3d>
        </p:spPr>
        <p:txBody>
          <a:bodyPr wrap="square" anchor="t">
            <a:noAutofit/>
          </a:bodyPr>
          <a:lstStyle>
            <a:lvl1pPr marL="0" indent="0" algn="ctr">
              <a:buNone/>
              <a:defRPr sz="1000"/>
            </a:lvl1pPr>
          </a:lstStyle>
          <a:p>
            <a:endParaRPr lang="en-US"/>
          </a:p>
        </p:txBody>
      </p:sp>
      <p:sp>
        <p:nvSpPr>
          <p:cNvPr id="48" name="Picture Placeholder 47">
            <a:extLst>
              <a:ext uri="{FF2B5EF4-FFF2-40B4-BE49-F238E27FC236}">
                <a16:creationId xmlns:a16="http://schemas.microsoft.com/office/drawing/2014/main" id="{610A3D6E-C358-439C-8B8A-28D7DA56AB33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513092" y="3453765"/>
            <a:ext cx="952376" cy="952500"/>
          </a:xfrm>
          <a:custGeom>
            <a:avLst/>
            <a:gdLst>
              <a:gd name="connsiteX0" fmla="*/ 0 w 1905000"/>
              <a:gd name="connsiteY0" fmla="*/ 0 h 1905000"/>
              <a:gd name="connsiteX1" fmla="*/ 1905000 w 1905000"/>
              <a:gd name="connsiteY1" fmla="*/ 0 h 1905000"/>
              <a:gd name="connsiteX2" fmla="*/ 1905000 w 1905000"/>
              <a:gd name="connsiteY2" fmla="*/ 1905000 h 1905000"/>
              <a:gd name="connsiteX3" fmla="*/ 0 w 1905000"/>
              <a:gd name="connsiteY3" fmla="*/ 1905000 h 190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05000" h="1905000">
                <a:moveTo>
                  <a:pt x="0" y="0"/>
                </a:moveTo>
                <a:lnTo>
                  <a:pt x="1905000" y="0"/>
                </a:lnTo>
                <a:lnTo>
                  <a:pt x="1905000" y="1905000"/>
                </a:lnTo>
                <a:lnTo>
                  <a:pt x="0" y="1905000"/>
                </a:lnTo>
                <a:close/>
              </a:path>
            </a:pathLst>
          </a:custGeom>
          <a:pattFill prst="pct60">
            <a:fgClr>
              <a:srgbClr val="FFFFFF"/>
            </a:fgClr>
            <a:bgClr>
              <a:srgbClr val="C1C9D5"/>
            </a:bgClr>
          </a:pattFill>
          <a:effectLst>
            <a:outerShdw dist="88900" dir="10800000" sx="99000" sy="99000" algn="r" rotWithShape="0">
              <a:schemeClr val="accent1"/>
            </a:outerShdw>
          </a:effectLst>
          <a:scene3d>
            <a:camera prst="isometricOffAxis1Top">
              <a:rot lat="0" lon="0" rev="0"/>
            </a:camera>
            <a:lightRig rig="threePt" dir="t"/>
          </a:scene3d>
        </p:spPr>
        <p:txBody>
          <a:bodyPr wrap="square" anchor="t">
            <a:noAutofit/>
          </a:bodyPr>
          <a:lstStyle>
            <a:lvl1pPr marL="0" indent="0" algn="ctr">
              <a:buNone/>
              <a:defRPr sz="1000"/>
            </a:lvl1pPr>
          </a:lstStyle>
          <a:p>
            <a:endParaRPr lang="en-US"/>
          </a:p>
        </p:txBody>
      </p:sp>
      <p:sp>
        <p:nvSpPr>
          <p:cNvPr id="49" name="Picture Placeholder 48">
            <a:extLst>
              <a:ext uri="{FF2B5EF4-FFF2-40B4-BE49-F238E27FC236}">
                <a16:creationId xmlns:a16="http://schemas.microsoft.com/office/drawing/2014/main" id="{B176FB6D-30B1-4A91-BF7B-E0B3AC30EFB6}"/>
              </a:ext>
            </a:extLst>
          </p:cNvPr>
          <p:cNvSpPr>
            <a:spLocks noGrp="1"/>
          </p:cNvSpPr>
          <p:nvPr>
            <p:ph type="pic" sz="quarter" idx="45"/>
          </p:nvPr>
        </p:nvSpPr>
        <p:spPr>
          <a:xfrm>
            <a:off x="3341648" y="3453765"/>
            <a:ext cx="952376" cy="952500"/>
          </a:xfrm>
          <a:custGeom>
            <a:avLst/>
            <a:gdLst>
              <a:gd name="connsiteX0" fmla="*/ 0 w 1905000"/>
              <a:gd name="connsiteY0" fmla="*/ 0 h 1905000"/>
              <a:gd name="connsiteX1" fmla="*/ 1905000 w 1905000"/>
              <a:gd name="connsiteY1" fmla="*/ 0 h 1905000"/>
              <a:gd name="connsiteX2" fmla="*/ 1905000 w 1905000"/>
              <a:gd name="connsiteY2" fmla="*/ 1905000 h 1905000"/>
              <a:gd name="connsiteX3" fmla="*/ 0 w 1905000"/>
              <a:gd name="connsiteY3" fmla="*/ 1905000 h 190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05000" h="1905000">
                <a:moveTo>
                  <a:pt x="0" y="0"/>
                </a:moveTo>
                <a:lnTo>
                  <a:pt x="1905000" y="0"/>
                </a:lnTo>
                <a:lnTo>
                  <a:pt x="1905000" y="1905000"/>
                </a:lnTo>
                <a:lnTo>
                  <a:pt x="0" y="1905000"/>
                </a:lnTo>
                <a:close/>
              </a:path>
            </a:pathLst>
          </a:custGeom>
          <a:pattFill prst="pct60">
            <a:fgClr>
              <a:srgbClr val="FFFFFF"/>
            </a:fgClr>
            <a:bgClr>
              <a:srgbClr val="C1C9D5"/>
            </a:bgClr>
          </a:pattFill>
          <a:effectLst>
            <a:outerShdw dist="88900" dir="10800000" sx="99000" sy="99000" algn="r" rotWithShape="0">
              <a:schemeClr val="accent4"/>
            </a:outerShdw>
          </a:effectLst>
          <a:scene3d>
            <a:camera prst="isometricOffAxis1Top">
              <a:rot lat="0" lon="0" rev="0"/>
            </a:camera>
            <a:lightRig rig="threePt" dir="t"/>
          </a:scene3d>
        </p:spPr>
        <p:txBody>
          <a:bodyPr wrap="square" anchor="t">
            <a:noAutofit/>
          </a:bodyPr>
          <a:lstStyle>
            <a:lvl1pPr marL="0" indent="0" algn="ctr">
              <a:buNone/>
              <a:defRPr sz="1000"/>
            </a:lvl1pPr>
          </a:lstStyle>
          <a:p>
            <a:endParaRPr lang="en-US"/>
          </a:p>
        </p:txBody>
      </p:sp>
      <p:sp>
        <p:nvSpPr>
          <p:cNvPr id="50" name="Picture Placeholder 49">
            <a:extLst>
              <a:ext uri="{FF2B5EF4-FFF2-40B4-BE49-F238E27FC236}">
                <a16:creationId xmlns:a16="http://schemas.microsoft.com/office/drawing/2014/main" id="{F6FEED80-41F9-45B8-810F-A371D8C9E3AC}"/>
              </a:ext>
            </a:extLst>
          </p:cNvPr>
          <p:cNvSpPr>
            <a:spLocks noGrp="1"/>
          </p:cNvSpPr>
          <p:nvPr>
            <p:ph type="pic" sz="quarter" idx="46"/>
          </p:nvPr>
        </p:nvSpPr>
        <p:spPr>
          <a:xfrm>
            <a:off x="6170205" y="3453765"/>
            <a:ext cx="952376" cy="952500"/>
          </a:xfrm>
          <a:custGeom>
            <a:avLst/>
            <a:gdLst>
              <a:gd name="connsiteX0" fmla="*/ 0 w 1905000"/>
              <a:gd name="connsiteY0" fmla="*/ 0 h 1905000"/>
              <a:gd name="connsiteX1" fmla="*/ 1905000 w 1905000"/>
              <a:gd name="connsiteY1" fmla="*/ 0 h 1905000"/>
              <a:gd name="connsiteX2" fmla="*/ 1905000 w 1905000"/>
              <a:gd name="connsiteY2" fmla="*/ 1905000 h 1905000"/>
              <a:gd name="connsiteX3" fmla="*/ 0 w 1905000"/>
              <a:gd name="connsiteY3" fmla="*/ 1905000 h 190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05000" h="1905000">
                <a:moveTo>
                  <a:pt x="0" y="0"/>
                </a:moveTo>
                <a:lnTo>
                  <a:pt x="1905000" y="0"/>
                </a:lnTo>
                <a:lnTo>
                  <a:pt x="1905000" y="1905000"/>
                </a:lnTo>
                <a:lnTo>
                  <a:pt x="0" y="1905000"/>
                </a:lnTo>
                <a:close/>
              </a:path>
            </a:pathLst>
          </a:custGeom>
          <a:pattFill prst="pct60">
            <a:fgClr>
              <a:srgbClr val="FFFFFF"/>
            </a:fgClr>
            <a:bgClr>
              <a:srgbClr val="C1C9D5"/>
            </a:bgClr>
          </a:pattFill>
          <a:effectLst>
            <a:outerShdw dist="88900" dir="10800000" sx="99000" sy="99000" algn="r" rotWithShape="0">
              <a:schemeClr val="bg2"/>
            </a:outerShdw>
          </a:effectLst>
          <a:scene3d>
            <a:camera prst="isometricOffAxis1Top">
              <a:rot lat="0" lon="0" rev="0"/>
            </a:camera>
            <a:lightRig rig="threePt" dir="t"/>
          </a:scene3d>
        </p:spPr>
        <p:txBody>
          <a:bodyPr wrap="square" anchor="t">
            <a:noAutofit/>
          </a:bodyPr>
          <a:lstStyle>
            <a:lvl1pPr marL="0" indent="0" algn="ctr">
              <a:buNone/>
              <a:defRPr sz="1000"/>
            </a:lvl1pPr>
          </a:lstStyle>
          <a:p>
            <a:endParaRPr lang="en-US"/>
          </a:p>
        </p:txBody>
      </p:sp>
      <p:sp>
        <p:nvSpPr>
          <p:cNvPr id="51" name="Picture Placeholder 50">
            <a:extLst>
              <a:ext uri="{FF2B5EF4-FFF2-40B4-BE49-F238E27FC236}">
                <a16:creationId xmlns:a16="http://schemas.microsoft.com/office/drawing/2014/main" id="{6D041EF4-D5CD-4126-B32F-5971C6FA721C}"/>
              </a:ext>
            </a:extLst>
          </p:cNvPr>
          <p:cNvSpPr>
            <a:spLocks noGrp="1"/>
          </p:cNvSpPr>
          <p:nvPr>
            <p:ph type="pic" sz="quarter" idx="47"/>
          </p:nvPr>
        </p:nvSpPr>
        <p:spPr>
          <a:xfrm>
            <a:off x="8998762" y="3453765"/>
            <a:ext cx="952376" cy="952500"/>
          </a:xfrm>
          <a:custGeom>
            <a:avLst/>
            <a:gdLst>
              <a:gd name="connsiteX0" fmla="*/ 0 w 1905000"/>
              <a:gd name="connsiteY0" fmla="*/ 0 h 1905000"/>
              <a:gd name="connsiteX1" fmla="*/ 1905000 w 1905000"/>
              <a:gd name="connsiteY1" fmla="*/ 0 h 1905000"/>
              <a:gd name="connsiteX2" fmla="*/ 1905000 w 1905000"/>
              <a:gd name="connsiteY2" fmla="*/ 1905000 h 1905000"/>
              <a:gd name="connsiteX3" fmla="*/ 0 w 1905000"/>
              <a:gd name="connsiteY3" fmla="*/ 1905000 h 190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05000" h="1905000">
                <a:moveTo>
                  <a:pt x="0" y="0"/>
                </a:moveTo>
                <a:lnTo>
                  <a:pt x="1905000" y="0"/>
                </a:lnTo>
                <a:lnTo>
                  <a:pt x="1905000" y="1905000"/>
                </a:lnTo>
                <a:lnTo>
                  <a:pt x="0" y="1905000"/>
                </a:lnTo>
                <a:close/>
              </a:path>
            </a:pathLst>
          </a:custGeom>
          <a:pattFill prst="pct60">
            <a:fgClr>
              <a:srgbClr val="FFFFFF"/>
            </a:fgClr>
            <a:bgClr>
              <a:srgbClr val="C1C9D5"/>
            </a:bgClr>
          </a:pattFill>
          <a:effectLst>
            <a:outerShdw dist="88900" dir="10800000" sx="99000" sy="99000" algn="r" rotWithShape="0">
              <a:schemeClr val="tx2">
                <a:lumMod val="75000"/>
              </a:schemeClr>
            </a:outerShdw>
          </a:effectLst>
          <a:scene3d>
            <a:camera prst="isometricOffAxis1Top">
              <a:rot lat="0" lon="0" rev="0"/>
            </a:camera>
            <a:lightRig rig="threePt" dir="t"/>
          </a:scene3d>
        </p:spPr>
        <p:txBody>
          <a:bodyPr wrap="square" anchor="t">
            <a:noAutofit/>
          </a:bodyPr>
          <a:lstStyle>
            <a:lvl1pPr marL="0" indent="0" algn="ctr">
              <a:buNone/>
              <a:defRPr sz="1000"/>
            </a:lvl1pPr>
          </a:lstStyle>
          <a:p>
            <a:endParaRPr lang="en-US"/>
          </a:p>
        </p:txBody>
      </p:sp>
      <p:sp>
        <p:nvSpPr>
          <p:cNvPr id="52" name="Picture Placeholder 51">
            <a:extLst>
              <a:ext uri="{FF2B5EF4-FFF2-40B4-BE49-F238E27FC236}">
                <a16:creationId xmlns:a16="http://schemas.microsoft.com/office/drawing/2014/main" id="{CEE5E17D-B267-4245-B058-59B9515089D4}"/>
              </a:ext>
            </a:extLst>
          </p:cNvPr>
          <p:cNvSpPr>
            <a:spLocks noGrp="1"/>
          </p:cNvSpPr>
          <p:nvPr>
            <p:ph type="pic" sz="quarter" idx="48"/>
          </p:nvPr>
        </p:nvSpPr>
        <p:spPr>
          <a:xfrm>
            <a:off x="513092" y="5025390"/>
            <a:ext cx="952376" cy="952500"/>
          </a:xfrm>
          <a:custGeom>
            <a:avLst/>
            <a:gdLst>
              <a:gd name="connsiteX0" fmla="*/ 0 w 1905000"/>
              <a:gd name="connsiteY0" fmla="*/ 0 h 1905000"/>
              <a:gd name="connsiteX1" fmla="*/ 1905000 w 1905000"/>
              <a:gd name="connsiteY1" fmla="*/ 0 h 1905000"/>
              <a:gd name="connsiteX2" fmla="*/ 1905000 w 1905000"/>
              <a:gd name="connsiteY2" fmla="*/ 1905000 h 1905000"/>
              <a:gd name="connsiteX3" fmla="*/ 0 w 1905000"/>
              <a:gd name="connsiteY3" fmla="*/ 1905000 h 190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05000" h="1905000">
                <a:moveTo>
                  <a:pt x="0" y="0"/>
                </a:moveTo>
                <a:lnTo>
                  <a:pt x="1905000" y="0"/>
                </a:lnTo>
                <a:lnTo>
                  <a:pt x="1905000" y="1905000"/>
                </a:lnTo>
                <a:lnTo>
                  <a:pt x="0" y="1905000"/>
                </a:lnTo>
                <a:close/>
              </a:path>
            </a:pathLst>
          </a:custGeom>
          <a:pattFill prst="pct60">
            <a:fgClr>
              <a:srgbClr val="FFFFFF"/>
            </a:fgClr>
            <a:bgClr>
              <a:srgbClr val="C1C9D5"/>
            </a:bgClr>
          </a:pattFill>
          <a:effectLst>
            <a:outerShdw dist="88900" dir="10800000" sx="99000" sy="99000" algn="r" rotWithShape="0">
              <a:schemeClr val="accent1"/>
            </a:outerShdw>
          </a:effectLst>
          <a:scene3d>
            <a:camera prst="isometricOffAxis1Top">
              <a:rot lat="0" lon="0" rev="0"/>
            </a:camera>
            <a:lightRig rig="threePt" dir="t"/>
          </a:scene3d>
        </p:spPr>
        <p:txBody>
          <a:bodyPr wrap="square" anchor="t">
            <a:noAutofit/>
          </a:bodyPr>
          <a:lstStyle>
            <a:lvl1pPr marL="0" indent="0" algn="ctr">
              <a:buNone/>
              <a:defRPr sz="1000"/>
            </a:lvl1pPr>
          </a:lstStyle>
          <a:p>
            <a:endParaRPr lang="en-US"/>
          </a:p>
        </p:txBody>
      </p:sp>
      <p:sp>
        <p:nvSpPr>
          <p:cNvPr id="53" name="Picture Placeholder 52">
            <a:extLst>
              <a:ext uri="{FF2B5EF4-FFF2-40B4-BE49-F238E27FC236}">
                <a16:creationId xmlns:a16="http://schemas.microsoft.com/office/drawing/2014/main" id="{6CBC3CA6-B6A2-4EEB-9A63-B3A2ED1EA40C}"/>
              </a:ext>
            </a:extLst>
          </p:cNvPr>
          <p:cNvSpPr>
            <a:spLocks noGrp="1"/>
          </p:cNvSpPr>
          <p:nvPr>
            <p:ph type="pic" sz="quarter" idx="49"/>
          </p:nvPr>
        </p:nvSpPr>
        <p:spPr>
          <a:xfrm>
            <a:off x="3341648" y="5025390"/>
            <a:ext cx="952376" cy="952500"/>
          </a:xfrm>
          <a:custGeom>
            <a:avLst/>
            <a:gdLst>
              <a:gd name="connsiteX0" fmla="*/ 0 w 1905000"/>
              <a:gd name="connsiteY0" fmla="*/ 0 h 1905000"/>
              <a:gd name="connsiteX1" fmla="*/ 1905000 w 1905000"/>
              <a:gd name="connsiteY1" fmla="*/ 0 h 1905000"/>
              <a:gd name="connsiteX2" fmla="*/ 1905000 w 1905000"/>
              <a:gd name="connsiteY2" fmla="*/ 1905000 h 1905000"/>
              <a:gd name="connsiteX3" fmla="*/ 0 w 1905000"/>
              <a:gd name="connsiteY3" fmla="*/ 1905000 h 190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05000" h="1905000">
                <a:moveTo>
                  <a:pt x="0" y="0"/>
                </a:moveTo>
                <a:lnTo>
                  <a:pt x="1905000" y="0"/>
                </a:lnTo>
                <a:lnTo>
                  <a:pt x="1905000" y="1905000"/>
                </a:lnTo>
                <a:lnTo>
                  <a:pt x="0" y="1905000"/>
                </a:lnTo>
                <a:close/>
              </a:path>
            </a:pathLst>
          </a:custGeom>
          <a:pattFill prst="pct60">
            <a:fgClr>
              <a:srgbClr val="FFFFFF"/>
            </a:fgClr>
            <a:bgClr>
              <a:srgbClr val="C1C9D5"/>
            </a:bgClr>
          </a:pattFill>
          <a:effectLst>
            <a:outerShdw dist="88900" dir="10800000" sx="99000" sy="99000" algn="r" rotWithShape="0">
              <a:schemeClr val="accent4"/>
            </a:outerShdw>
          </a:effectLst>
          <a:scene3d>
            <a:camera prst="isometricOffAxis1Top">
              <a:rot lat="0" lon="0" rev="0"/>
            </a:camera>
            <a:lightRig rig="threePt" dir="t"/>
          </a:scene3d>
        </p:spPr>
        <p:txBody>
          <a:bodyPr wrap="square" anchor="t">
            <a:noAutofit/>
          </a:bodyPr>
          <a:lstStyle>
            <a:lvl1pPr marL="0" indent="0" algn="ctr">
              <a:buNone/>
              <a:defRPr sz="1000"/>
            </a:lvl1pPr>
          </a:lstStyle>
          <a:p>
            <a:endParaRPr lang="en-US"/>
          </a:p>
        </p:txBody>
      </p:sp>
      <p:sp>
        <p:nvSpPr>
          <p:cNvPr id="54" name="Picture Placeholder 53">
            <a:extLst>
              <a:ext uri="{FF2B5EF4-FFF2-40B4-BE49-F238E27FC236}">
                <a16:creationId xmlns:a16="http://schemas.microsoft.com/office/drawing/2014/main" id="{49975133-13E9-47E2-B89B-39D855512B99}"/>
              </a:ext>
            </a:extLst>
          </p:cNvPr>
          <p:cNvSpPr>
            <a:spLocks noGrp="1"/>
          </p:cNvSpPr>
          <p:nvPr>
            <p:ph type="pic" sz="quarter" idx="50"/>
          </p:nvPr>
        </p:nvSpPr>
        <p:spPr>
          <a:xfrm>
            <a:off x="6170205" y="5025390"/>
            <a:ext cx="952376" cy="952500"/>
          </a:xfrm>
          <a:custGeom>
            <a:avLst/>
            <a:gdLst>
              <a:gd name="connsiteX0" fmla="*/ 0 w 1905000"/>
              <a:gd name="connsiteY0" fmla="*/ 0 h 1905000"/>
              <a:gd name="connsiteX1" fmla="*/ 1905000 w 1905000"/>
              <a:gd name="connsiteY1" fmla="*/ 0 h 1905000"/>
              <a:gd name="connsiteX2" fmla="*/ 1905000 w 1905000"/>
              <a:gd name="connsiteY2" fmla="*/ 1905000 h 1905000"/>
              <a:gd name="connsiteX3" fmla="*/ 0 w 1905000"/>
              <a:gd name="connsiteY3" fmla="*/ 1905000 h 190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05000" h="1905000">
                <a:moveTo>
                  <a:pt x="0" y="0"/>
                </a:moveTo>
                <a:lnTo>
                  <a:pt x="1905000" y="0"/>
                </a:lnTo>
                <a:lnTo>
                  <a:pt x="1905000" y="1905000"/>
                </a:lnTo>
                <a:lnTo>
                  <a:pt x="0" y="1905000"/>
                </a:lnTo>
                <a:close/>
              </a:path>
            </a:pathLst>
          </a:custGeom>
          <a:pattFill prst="pct60">
            <a:fgClr>
              <a:srgbClr val="FFFFFF"/>
            </a:fgClr>
            <a:bgClr>
              <a:srgbClr val="C1C9D5"/>
            </a:bgClr>
          </a:pattFill>
          <a:effectLst>
            <a:outerShdw dist="88900" dir="10800000" sx="99000" sy="99000" algn="r" rotWithShape="0">
              <a:schemeClr val="bg2"/>
            </a:outerShdw>
          </a:effectLst>
          <a:scene3d>
            <a:camera prst="isometricOffAxis1Top">
              <a:rot lat="0" lon="0" rev="0"/>
            </a:camera>
            <a:lightRig rig="threePt" dir="t"/>
          </a:scene3d>
        </p:spPr>
        <p:txBody>
          <a:bodyPr wrap="square" anchor="t">
            <a:noAutofit/>
          </a:bodyPr>
          <a:lstStyle>
            <a:lvl1pPr marL="0" indent="0" algn="ctr">
              <a:buNone/>
              <a:defRPr sz="1000"/>
            </a:lvl1pPr>
          </a:lstStyle>
          <a:p>
            <a:endParaRPr lang="en-US"/>
          </a:p>
        </p:txBody>
      </p:sp>
      <p:sp>
        <p:nvSpPr>
          <p:cNvPr id="55" name="Picture Placeholder 54">
            <a:extLst>
              <a:ext uri="{FF2B5EF4-FFF2-40B4-BE49-F238E27FC236}">
                <a16:creationId xmlns:a16="http://schemas.microsoft.com/office/drawing/2014/main" id="{63CF676C-B8B6-4C40-91EF-D8B604B3000F}"/>
              </a:ext>
            </a:extLst>
          </p:cNvPr>
          <p:cNvSpPr>
            <a:spLocks noGrp="1"/>
          </p:cNvSpPr>
          <p:nvPr>
            <p:ph type="pic" sz="quarter" idx="51"/>
          </p:nvPr>
        </p:nvSpPr>
        <p:spPr>
          <a:xfrm>
            <a:off x="8998762" y="5025390"/>
            <a:ext cx="952376" cy="952500"/>
          </a:xfrm>
          <a:custGeom>
            <a:avLst/>
            <a:gdLst>
              <a:gd name="connsiteX0" fmla="*/ 0 w 1905000"/>
              <a:gd name="connsiteY0" fmla="*/ 0 h 1905000"/>
              <a:gd name="connsiteX1" fmla="*/ 1905000 w 1905000"/>
              <a:gd name="connsiteY1" fmla="*/ 0 h 1905000"/>
              <a:gd name="connsiteX2" fmla="*/ 1905000 w 1905000"/>
              <a:gd name="connsiteY2" fmla="*/ 1905000 h 1905000"/>
              <a:gd name="connsiteX3" fmla="*/ 0 w 1905000"/>
              <a:gd name="connsiteY3" fmla="*/ 1905000 h 190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05000" h="1905000">
                <a:moveTo>
                  <a:pt x="0" y="0"/>
                </a:moveTo>
                <a:lnTo>
                  <a:pt x="1905000" y="0"/>
                </a:lnTo>
                <a:lnTo>
                  <a:pt x="1905000" y="1905000"/>
                </a:lnTo>
                <a:lnTo>
                  <a:pt x="0" y="1905000"/>
                </a:lnTo>
                <a:close/>
              </a:path>
            </a:pathLst>
          </a:custGeom>
          <a:pattFill prst="pct60">
            <a:fgClr>
              <a:srgbClr val="FFFFFF"/>
            </a:fgClr>
            <a:bgClr>
              <a:srgbClr val="C1C9D5"/>
            </a:bgClr>
          </a:pattFill>
          <a:effectLst>
            <a:outerShdw dist="88900" dir="10800000" sx="99000" sy="99000" algn="r" rotWithShape="0">
              <a:schemeClr val="tx2">
                <a:lumMod val="75000"/>
              </a:schemeClr>
            </a:outerShdw>
          </a:effectLst>
          <a:scene3d>
            <a:camera prst="isometricOffAxis1Top">
              <a:rot lat="0" lon="0" rev="0"/>
            </a:camera>
            <a:lightRig rig="threePt" dir="t"/>
          </a:scene3d>
        </p:spPr>
        <p:txBody>
          <a:bodyPr wrap="square" anchor="t">
            <a:noAutofit/>
          </a:bodyPr>
          <a:lstStyle>
            <a:lvl1pPr marL="0" indent="0" algn="ctr">
              <a:buNone/>
              <a:defRPr sz="1000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422377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8D938956-B64C-4A69-AD96-2E304154F006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1466052" y="1667097"/>
            <a:ext cx="1828118" cy="1828357"/>
          </a:xfrm>
          <a:custGeom>
            <a:avLst/>
            <a:gdLst>
              <a:gd name="connsiteX0" fmla="*/ 0 w 3656713"/>
              <a:gd name="connsiteY0" fmla="*/ 0 h 3656713"/>
              <a:gd name="connsiteX1" fmla="*/ 3656713 w 3656713"/>
              <a:gd name="connsiteY1" fmla="*/ 0 h 3656713"/>
              <a:gd name="connsiteX2" fmla="*/ 3656713 w 3656713"/>
              <a:gd name="connsiteY2" fmla="*/ 3656713 h 3656713"/>
              <a:gd name="connsiteX3" fmla="*/ 0 w 3656713"/>
              <a:gd name="connsiteY3" fmla="*/ 3656713 h 36567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56713" h="3656713">
                <a:moveTo>
                  <a:pt x="0" y="0"/>
                </a:moveTo>
                <a:lnTo>
                  <a:pt x="3656713" y="0"/>
                </a:lnTo>
                <a:lnTo>
                  <a:pt x="3656713" y="3656713"/>
                </a:lnTo>
                <a:lnTo>
                  <a:pt x="0" y="3656713"/>
                </a:lnTo>
                <a:close/>
              </a:path>
            </a:pathLst>
          </a:custGeom>
          <a:pattFill prst="pct60">
            <a:fgClr>
              <a:srgbClr val="FFFFFF"/>
            </a:fgClr>
            <a:bgClr>
              <a:srgbClr val="C1C9D5"/>
            </a:bgClr>
          </a:pattFill>
          <a:effectLst>
            <a:outerShdw dist="139700" dir="10800000" sx="99000" sy="99000" algn="r" rotWithShape="0">
              <a:schemeClr val="accent1"/>
            </a:outerShdw>
          </a:effectLst>
          <a:scene3d>
            <a:camera prst="isometricOffAxis1Top">
              <a:rot lat="0" lon="0" rev="0"/>
            </a:camera>
            <a:lightRig rig="threePt" dir="t"/>
          </a:scene3d>
        </p:spPr>
        <p:txBody>
          <a:bodyPr wrap="square" anchor="t">
            <a:noAutofit/>
          </a:bodyPr>
          <a:lstStyle>
            <a:lvl1pPr marL="0" indent="0" algn="ctr">
              <a:buNone/>
              <a:defRPr sz="1000"/>
            </a:lvl1pPr>
          </a:lstStyle>
          <a:p>
            <a:endParaRPr lang="en-US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E6B722B3-CFC5-45EA-9ED6-3E100F31BD14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6475550" y="1667097"/>
            <a:ext cx="1828118" cy="1828357"/>
          </a:xfrm>
          <a:custGeom>
            <a:avLst/>
            <a:gdLst>
              <a:gd name="connsiteX0" fmla="*/ 0 w 3656713"/>
              <a:gd name="connsiteY0" fmla="*/ 0 h 3656713"/>
              <a:gd name="connsiteX1" fmla="*/ 3656713 w 3656713"/>
              <a:gd name="connsiteY1" fmla="*/ 0 h 3656713"/>
              <a:gd name="connsiteX2" fmla="*/ 3656713 w 3656713"/>
              <a:gd name="connsiteY2" fmla="*/ 3656713 h 3656713"/>
              <a:gd name="connsiteX3" fmla="*/ 0 w 3656713"/>
              <a:gd name="connsiteY3" fmla="*/ 3656713 h 36567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56713" h="3656713">
                <a:moveTo>
                  <a:pt x="0" y="0"/>
                </a:moveTo>
                <a:lnTo>
                  <a:pt x="3656713" y="0"/>
                </a:lnTo>
                <a:lnTo>
                  <a:pt x="3656713" y="3656713"/>
                </a:lnTo>
                <a:lnTo>
                  <a:pt x="0" y="3656713"/>
                </a:lnTo>
                <a:close/>
              </a:path>
            </a:pathLst>
          </a:custGeom>
          <a:pattFill prst="pct60">
            <a:fgClr>
              <a:srgbClr val="FFFFFF"/>
            </a:fgClr>
            <a:bgClr>
              <a:srgbClr val="C1C9D5"/>
            </a:bgClr>
          </a:pattFill>
          <a:effectLst>
            <a:outerShdw dist="139700" dir="10800000" sx="99000" sy="99000" algn="r" rotWithShape="0">
              <a:schemeClr val="accent4"/>
            </a:outerShdw>
          </a:effectLst>
          <a:scene3d>
            <a:camera prst="isometricOffAxis1Top">
              <a:rot lat="0" lon="0" rev="0"/>
            </a:camera>
            <a:lightRig rig="threePt" dir="t"/>
          </a:scene3d>
        </p:spPr>
        <p:txBody>
          <a:bodyPr wrap="square" anchor="t">
            <a:noAutofit/>
          </a:bodyPr>
          <a:lstStyle>
            <a:lvl1pPr marL="0" indent="0" algn="ctr">
              <a:buNone/>
              <a:defRPr sz="1000"/>
            </a:lvl1pPr>
          </a:lstStyle>
          <a:p>
            <a:endParaRPr lang="en-US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7B0BB8CC-07D9-47C2-A423-DA7944D73557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1466052" y="4105497"/>
            <a:ext cx="1828118" cy="1828357"/>
          </a:xfrm>
          <a:custGeom>
            <a:avLst/>
            <a:gdLst>
              <a:gd name="connsiteX0" fmla="*/ 0 w 3656713"/>
              <a:gd name="connsiteY0" fmla="*/ 0 h 3656713"/>
              <a:gd name="connsiteX1" fmla="*/ 3656713 w 3656713"/>
              <a:gd name="connsiteY1" fmla="*/ 0 h 3656713"/>
              <a:gd name="connsiteX2" fmla="*/ 3656713 w 3656713"/>
              <a:gd name="connsiteY2" fmla="*/ 3656713 h 3656713"/>
              <a:gd name="connsiteX3" fmla="*/ 0 w 3656713"/>
              <a:gd name="connsiteY3" fmla="*/ 3656713 h 36567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56713" h="3656713">
                <a:moveTo>
                  <a:pt x="0" y="0"/>
                </a:moveTo>
                <a:lnTo>
                  <a:pt x="3656713" y="0"/>
                </a:lnTo>
                <a:lnTo>
                  <a:pt x="3656713" y="3656713"/>
                </a:lnTo>
                <a:lnTo>
                  <a:pt x="0" y="3656713"/>
                </a:lnTo>
                <a:close/>
              </a:path>
            </a:pathLst>
          </a:custGeom>
          <a:pattFill prst="pct60">
            <a:fgClr>
              <a:srgbClr val="FFFFFF"/>
            </a:fgClr>
            <a:bgClr>
              <a:srgbClr val="C1C9D5"/>
            </a:bgClr>
          </a:pattFill>
          <a:effectLst>
            <a:outerShdw dist="139700" dir="10800000" sx="99000" sy="99000" algn="r" rotWithShape="0">
              <a:schemeClr val="bg2"/>
            </a:outerShdw>
          </a:effectLst>
          <a:scene3d>
            <a:camera prst="isometricOffAxis1Top">
              <a:rot lat="0" lon="0" rev="0"/>
            </a:camera>
            <a:lightRig rig="threePt" dir="t"/>
          </a:scene3d>
        </p:spPr>
        <p:txBody>
          <a:bodyPr wrap="square" anchor="t">
            <a:noAutofit/>
          </a:bodyPr>
          <a:lstStyle>
            <a:lvl1pPr marL="0" indent="0" algn="ctr">
              <a:buNone/>
              <a:defRPr sz="1000"/>
            </a:lvl1pPr>
          </a:lstStyle>
          <a:p>
            <a:endParaRPr lang="en-US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09D065CD-90D1-4F95-954E-57604EA9B4A1}"/>
              </a:ext>
            </a:extLst>
          </p:cNvPr>
          <p:cNvSpPr>
            <a:spLocks noGrp="1"/>
          </p:cNvSpPr>
          <p:nvPr>
            <p:ph type="pic" sz="quarter" idx="43"/>
          </p:nvPr>
        </p:nvSpPr>
        <p:spPr>
          <a:xfrm>
            <a:off x="6475550" y="4105497"/>
            <a:ext cx="1828118" cy="1828357"/>
          </a:xfrm>
          <a:custGeom>
            <a:avLst/>
            <a:gdLst>
              <a:gd name="connsiteX0" fmla="*/ 0 w 3656713"/>
              <a:gd name="connsiteY0" fmla="*/ 0 h 3656713"/>
              <a:gd name="connsiteX1" fmla="*/ 3656713 w 3656713"/>
              <a:gd name="connsiteY1" fmla="*/ 0 h 3656713"/>
              <a:gd name="connsiteX2" fmla="*/ 3656713 w 3656713"/>
              <a:gd name="connsiteY2" fmla="*/ 3656713 h 3656713"/>
              <a:gd name="connsiteX3" fmla="*/ 0 w 3656713"/>
              <a:gd name="connsiteY3" fmla="*/ 3656713 h 36567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56713" h="3656713">
                <a:moveTo>
                  <a:pt x="0" y="0"/>
                </a:moveTo>
                <a:lnTo>
                  <a:pt x="3656713" y="0"/>
                </a:lnTo>
                <a:lnTo>
                  <a:pt x="3656713" y="3656713"/>
                </a:lnTo>
                <a:lnTo>
                  <a:pt x="0" y="3656713"/>
                </a:lnTo>
                <a:close/>
              </a:path>
            </a:pathLst>
          </a:custGeom>
          <a:pattFill prst="pct60">
            <a:fgClr>
              <a:srgbClr val="FFFFFF"/>
            </a:fgClr>
            <a:bgClr>
              <a:srgbClr val="C1C9D5"/>
            </a:bgClr>
          </a:pattFill>
          <a:effectLst>
            <a:outerShdw dist="139700" dir="10800000" sx="99000" sy="99000" algn="r" rotWithShape="0">
              <a:schemeClr val="tx2">
                <a:lumMod val="75000"/>
              </a:schemeClr>
            </a:outerShdw>
          </a:effectLst>
          <a:scene3d>
            <a:camera prst="isometricOffAxis1Top">
              <a:rot lat="0" lon="0" rev="0"/>
            </a:camera>
            <a:lightRig rig="threePt" dir="t"/>
          </a:scene3d>
        </p:spPr>
        <p:txBody>
          <a:bodyPr wrap="square" anchor="t">
            <a:noAutofit/>
          </a:bodyPr>
          <a:lstStyle>
            <a:lvl1pPr marL="0" indent="0" algn="ctr">
              <a:buNone/>
              <a:defRPr sz="1000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697763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8D938956-B64C-4A69-AD96-2E304154F006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1466052" y="1667097"/>
            <a:ext cx="1828118" cy="1828357"/>
          </a:xfrm>
          <a:custGeom>
            <a:avLst/>
            <a:gdLst>
              <a:gd name="connsiteX0" fmla="*/ 0 w 3656713"/>
              <a:gd name="connsiteY0" fmla="*/ 0 h 3656713"/>
              <a:gd name="connsiteX1" fmla="*/ 3656713 w 3656713"/>
              <a:gd name="connsiteY1" fmla="*/ 0 h 3656713"/>
              <a:gd name="connsiteX2" fmla="*/ 3656713 w 3656713"/>
              <a:gd name="connsiteY2" fmla="*/ 3656713 h 3656713"/>
              <a:gd name="connsiteX3" fmla="*/ 0 w 3656713"/>
              <a:gd name="connsiteY3" fmla="*/ 3656713 h 36567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56713" h="3656713">
                <a:moveTo>
                  <a:pt x="0" y="0"/>
                </a:moveTo>
                <a:lnTo>
                  <a:pt x="3656713" y="0"/>
                </a:lnTo>
                <a:lnTo>
                  <a:pt x="3656713" y="3656713"/>
                </a:lnTo>
                <a:lnTo>
                  <a:pt x="0" y="3656713"/>
                </a:lnTo>
                <a:close/>
              </a:path>
            </a:pathLst>
          </a:custGeom>
          <a:pattFill prst="pct60">
            <a:fgClr>
              <a:srgbClr val="FFFFFF"/>
            </a:fgClr>
            <a:bgClr>
              <a:srgbClr val="C1C9D5"/>
            </a:bgClr>
          </a:pattFill>
          <a:effectLst>
            <a:outerShdw dist="139700" dir="10800000" sx="99000" sy="99000" algn="r" rotWithShape="0">
              <a:schemeClr val="accent1"/>
            </a:outerShdw>
          </a:effectLst>
          <a:scene3d>
            <a:camera prst="isometricOffAxis1Top">
              <a:rot lat="0" lon="0" rev="0"/>
            </a:camera>
            <a:lightRig rig="threePt" dir="t"/>
          </a:scene3d>
        </p:spPr>
        <p:txBody>
          <a:bodyPr wrap="square" anchor="t">
            <a:noAutofit/>
          </a:bodyPr>
          <a:lstStyle>
            <a:lvl1pPr marL="0" indent="0" algn="ctr">
              <a:buNone/>
              <a:defRPr sz="1000"/>
            </a:lvl1pPr>
          </a:lstStyle>
          <a:p>
            <a:endParaRPr lang="en-US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7B0BB8CC-07D9-47C2-A423-DA7944D73557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1466052" y="4105497"/>
            <a:ext cx="1828118" cy="1828357"/>
          </a:xfrm>
          <a:custGeom>
            <a:avLst/>
            <a:gdLst>
              <a:gd name="connsiteX0" fmla="*/ 0 w 3656713"/>
              <a:gd name="connsiteY0" fmla="*/ 0 h 3656713"/>
              <a:gd name="connsiteX1" fmla="*/ 3656713 w 3656713"/>
              <a:gd name="connsiteY1" fmla="*/ 0 h 3656713"/>
              <a:gd name="connsiteX2" fmla="*/ 3656713 w 3656713"/>
              <a:gd name="connsiteY2" fmla="*/ 3656713 h 3656713"/>
              <a:gd name="connsiteX3" fmla="*/ 0 w 3656713"/>
              <a:gd name="connsiteY3" fmla="*/ 3656713 h 36567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56713" h="3656713">
                <a:moveTo>
                  <a:pt x="0" y="0"/>
                </a:moveTo>
                <a:lnTo>
                  <a:pt x="3656713" y="0"/>
                </a:lnTo>
                <a:lnTo>
                  <a:pt x="3656713" y="3656713"/>
                </a:lnTo>
                <a:lnTo>
                  <a:pt x="0" y="3656713"/>
                </a:lnTo>
                <a:close/>
              </a:path>
            </a:pathLst>
          </a:custGeom>
          <a:pattFill prst="pct60">
            <a:fgClr>
              <a:srgbClr val="FFFFFF"/>
            </a:fgClr>
            <a:bgClr>
              <a:srgbClr val="C1C9D5"/>
            </a:bgClr>
          </a:pattFill>
          <a:effectLst>
            <a:outerShdw dist="139700" dir="10800000" sx="99000" sy="99000" algn="r" rotWithShape="0">
              <a:schemeClr val="bg2"/>
            </a:outerShdw>
          </a:effectLst>
          <a:scene3d>
            <a:camera prst="isometricOffAxis1Top">
              <a:rot lat="0" lon="0" rev="0"/>
            </a:camera>
            <a:lightRig rig="threePt" dir="t"/>
          </a:scene3d>
        </p:spPr>
        <p:txBody>
          <a:bodyPr wrap="square" anchor="t">
            <a:noAutofit/>
          </a:bodyPr>
          <a:lstStyle>
            <a:lvl1pPr marL="0" indent="0" algn="ctr">
              <a:buNone/>
              <a:defRPr sz="1000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80670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180FF5E0-9782-4262-8C8E-F25D5187B2A1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931683" y="1761865"/>
            <a:ext cx="2482838" cy="3352800"/>
          </a:xfrm>
          <a:custGeom>
            <a:avLst/>
            <a:gdLst>
              <a:gd name="connsiteX0" fmla="*/ 0 w 4966322"/>
              <a:gd name="connsiteY0" fmla="*/ 0 h 6705600"/>
              <a:gd name="connsiteX1" fmla="*/ 4966322 w 4966322"/>
              <a:gd name="connsiteY1" fmla="*/ 0 h 6705600"/>
              <a:gd name="connsiteX2" fmla="*/ 4966322 w 4966322"/>
              <a:gd name="connsiteY2" fmla="*/ 6705600 h 6705600"/>
              <a:gd name="connsiteX3" fmla="*/ 0 w 4966322"/>
              <a:gd name="connsiteY3" fmla="*/ 6705600 h 6705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966322" h="6705600">
                <a:moveTo>
                  <a:pt x="0" y="0"/>
                </a:moveTo>
                <a:lnTo>
                  <a:pt x="4966322" y="0"/>
                </a:lnTo>
                <a:lnTo>
                  <a:pt x="4966322" y="6705600"/>
                </a:lnTo>
                <a:lnTo>
                  <a:pt x="0" y="6705600"/>
                </a:lnTo>
                <a:close/>
              </a:path>
            </a:pathLst>
          </a:custGeom>
          <a:pattFill prst="pct60">
            <a:fgClr>
              <a:srgbClr val="FFFFFF"/>
            </a:fgClr>
            <a:bgClr>
              <a:srgbClr val="E6E9EE"/>
            </a:bgClr>
          </a:pattFill>
        </p:spPr>
        <p:txBody>
          <a:bodyPr anchor="ctr"/>
          <a:lstStyle>
            <a:lvl1pPr>
              <a:defRPr lang="en-US"/>
            </a:lvl1pPr>
          </a:lstStyle>
          <a:p>
            <a:pPr lvl="0"/>
            <a:endParaRPr lang="en-US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170C477C-0616-4B25-AECC-C8579212EECC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3546948" y="1761865"/>
            <a:ext cx="2482838" cy="3352800"/>
          </a:xfrm>
          <a:custGeom>
            <a:avLst/>
            <a:gdLst>
              <a:gd name="connsiteX0" fmla="*/ 0 w 4966322"/>
              <a:gd name="connsiteY0" fmla="*/ 0 h 6705600"/>
              <a:gd name="connsiteX1" fmla="*/ 4966322 w 4966322"/>
              <a:gd name="connsiteY1" fmla="*/ 0 h 6705600"/>
              <a:gd name="connsiteX2" fmla="*/ 4966322 w 4966322"/>
              <a:gd name="connsiteY2" fmla="*/ 6705600 h 6705600"/>
              <a:gd name="connsiteX3" fmla="*/ 0 w 4966322"/>
              <a:gd name="connsiteY3" fmla="*/ 6705600 h 6705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966322" h="6705600">
                <a:moveTo>
                  <a:pt x="0" y="0"/>
                </a:moveTo>
                <a:lnTo>
                  <a:pt x="4966322" y="0"/>
                </a:lnTo>
                <a:lnTo>
                  <a:pt x="4966322" y="6705600"/>
                </a:lnTo>
                <a:lnTo>
                  <a:pt x="0" y="6705600"/>
                </a:lnTo>
                <a:close/>
              </a:path>
            </a:pathLst>
          </a:custGeom>
          <a:pattFill prst="pct60">
            <a:fgClr>
              <a:srgbClr val="FFFFFF"/>
            </a:fgClr>
            <a:bgClr>
              <a:srgbClr val="E6E9EE"/>
            </a:bgClr>
          </a:pattFill>
        </p:spPr>
        <p:txBody>
          <a:bodyPr anchor="ctr"/>
          <a:lstStyle>
            <a:lvl1pPr>
              <a:defRPr lang="en-US"/>
            </a:lvl1pPr>
          </a:lstStyle>
          <a:p>
            <a:pPr lvl="0"/>
            <a:endParaRPr lang="en-US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DF1CF97D-2FDA-4292-861E-0CA5A754E9CA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6162213" y="1761865"/>
            <a:ext cx="2482838" cy="3352800"/>
          </a:xfrm>
          <a:custGeom>
            <a:avLst/>
            <a:gdLst>
              <a:gd name="connsiteX0" fmla="*/ 0 w 4966322"/>
              <a:gd name="connsiteY0" fmla="*/ 0 h 6705600"/>
              <a:gd name="connsiteX1" fmla="*/ 4966322 w 4966322"/>
              <a:gd name="connsiteY1" fmla="*/ 0 h 6705600"/>
              <a:gd name="connsiteX2" fmla="*/ 4966322 w 4966322"/>
              <a:gd name="connsiteY2" fmla="*/ 6705600 h 6705600"/>
              <a:gd name="connsiteX3" fmla="*/ 0 w 4966322"/>
              <a:gd name="connsiteY3" fmla="*/ 6705600 h 6705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966322" h="6705600">
                <a:moveTo>
                  <a:pt x="0" y="0"/>
                </a:moveTo>
                <a:lnTo>
                  <a:pt x="4966322" y="0"/>
                </a:lnTo>
                <a:lnTo>
                  <a:pt x="4966322" y="6705600"/>
                </a:lnTo>
                <a:lnTo>
                  <a:pt x="0" y="6705600"/>
                </a:lnTo>
                <a:close/>
              </a:path>
            </a:pathLst>
          </a:custGeom>
          <a:pattFill prst="pct60">
            <a:fgClr>
              <a:srgbClr val="FFFFFF"/>
            </a:fgClr>
            <a:bgClr>
              <a:srgbClr val="E6E9EE"/>
            </a:bgClr>
          </a:pattFill>
        </p:spPr>
        <p:txBody>
          <a:bodyPr anchor="ctr"/>
          <a:lstStyle>
            <a:lvl1pPr>
              <a:defRPr lang="en-US"/>
            </a:lvl1pPr>
          </a:lstStyle>
          <a:p>
            <a:pPr lvl="0"/>
            <a:endParaRPr lang="en-US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E34B1061-2D91-4253-9DCF-0987EC9BF35D}"/>
              </a:ext>
            </a:extLst>
          </p:cNvPr>
          <p:cNvSpPr>
            <a:spLocks noGrp="1"/>
          </p:cNvSpPr>
          <p:nvPr>
            <p:ph type="pic" sz="quarter" idx="43"/>
          </p:nvPr>
        </p:nvSpPr>
        <p:spPr>
          <a:xfrm>
            <a:off x="8777478" y="1761865"/>
            <a:ext cx="2482837" cy="3352800"/>
          </a:xfrm>
          <a:custGeom>
            <a:avLst/>
            <a:gdLst>
              <a:gd name="connsiteX0" fmla="*/ 0 w 4966320"/>
              <a:gd name="connsiteY0" fmla="*/ 0 h 6705600"/>
              <a:gd name="connsiteX1" fmla="*/ 4966320 w 4966320"/>
              <a:gd name="connsiteY1" fmla="*/ 0 h 6705600"/>
              <a:gd name="connsiteX2" fmla="*/ 4966320 w 4966320"/>
              <a:gd name="connsiteY2" fmla="*/ 6705600 h 6705600"/>
              <a:gd name="connsiteX3" fmla="*/ 0 w 4966320"/>
              <a:gd name="connsiteY3" fmla="*/ 6705600 h 6705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966320" h="6705600">
                <a:moveTo>
                  <a:pt x="0" y="0"/>
                </a:moveTo>
                <a:lnTo>
                  <a:pt x="4966320" y="0"/>
                </a:lnTo>
                <a:lnTo>
                  <a:pt x="4966320" y="6705600"/>
                </a:lnTo>
                <a:lnTo>
                  <a:pt x="0" y="6705600"/>
                </a:lnTo>
                <a:close/>
              </a:path>
            </a:pathLst>
          </a:custGeom>
          <a:pattFill prst="pct60">
            <a:fgClr>
              <a:srgbClr val="FFFFFF"/>
            </a:fgClr>
            <a:bgClr>
              <a:srgbClr val="E6E9EE"/>
            </a:bgClr>
          </a:pattFill>
        </p:spPr>
        <p:txBody>
          <a:bodyPr anchor="ctr"/>
          <a:lstStyle>
            <a:lvl1pPr>
              <a:defRPr lang="en-US"/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384459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4" fill="hold" grpId="0" nodeType="withEffect" p14:presetBounceEnd="4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40000">
                                          <p:cBhvr additive="base">
                                            <p:cTn id="7" dur="1200" fill="hold"/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40000">
                                          <p:cBhvr additive="base">
                                            <p:cTn id="8" dur="1200" fill="hold"/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4" fill="hold" grpId="0" nodeType="withEffect" p14:presetBounceEnd="40000">
                                      <p:stCondLst>
                                        <p:cond delay="20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40000">
                                          <p:cBhvr additive="base">
                                            <p:cTn id="11" dur="1200" fill="hold"/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40000">
                                          <p:cBhvr additive="base">
                                            <p:cTn id="12" dur="1200" fill="hold"/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3" presetID="2" presetClass="entr" presetSubtype="4" fill="hold" grpId="0" nodeType="withEffect" p14:presetBounceEnd="40000">
                                      <p:stCondLst>
                                        <p:cond delay="400"/>
                                      </p:stCondLst>
                                      <p:childTnLst>
                                        <p:set>
                                          <p:cBhvr>
                                            <p:cTn id="1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40000">
                                          <p:cBhvr additive="base">
                                            <p:cTn id="15" dur="1200" fill="hold"/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40000">
                                          <p:cBhvr additive="base">
                                            <p:cTn id="16" dur="1200" fill="hold"/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7" presetID="2" presetClass="entr" presetSubtype="4" fill="hold" grpId="0" nodeType="withEffect" p14:presetBounceEnd="40000">
                                      <p:stCondLst>
                                        <p:cond delay="600"/>
                                      </p:stCondLst>
                                      <p:childTnLst>
                                        <p:set>
                                          <p:cBhvr>
                                            <p:cTn id="1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40000">
                                          <p:cBhvr additive="base">
                                            <p:cTn id="19" dur="1200" fill="hold"/>
                                            <p:tgtEl>
                                              <p:spTgt spid="14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40000">
                                          <p:cBhvr additive="base">
                                            <p:cTn id="20" dur="1200" fill="hold"/>
                                            <p:tgtEl>
                                              <p:spTgt spid="14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11" grpId="0" animBg="1"/>
          <p:bldP spid="12" grpId="0" animBg="1"/>
          <p:bldP spid="13" grpId="0" animBg="1"/>
          <p:bldP spid="14" grpId="0" animBg="1"/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4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1200" fill="hold"/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1200" fill="hold"/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4" fill="hold" grpId="0" nodeType="withEffect">
                                      <p:stCondLst>
                                        <p:cond delay="20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1" dur="1200" fill="hold"/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2" dur="1200" fill="hold"/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3" presetID="2" presetClass="entr" presetSubtype="4" fill="hold" grpId="0" nodeType="withEffect">
                                      <p:stCondLst>
                                        <p:cond delay="400"/>
                                      </p:stCondLst>
                                      <p:childTnLst>
                                        <p:set>
                                          <p:cBhvr>
                                            <p:cTn id="1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5" dur="1200" fill="hold"/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6" dur="1200" fill="hold"/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7" presetID="2" presetClass="entr" presetSubtype="4" fill="hold" grpId="0" nodeType="withEffect">
                                      <p:stCondLst>
                                        <p:cond delay="600"/>
                                      </p:stCondLst>
                                      <p:childTnLst>
                                        <p:set>
                                          <p:cBhvr>
                                            <p:cTn id="1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9" dur="1200" fill="hold"/>
                                            <p:tgtEl>
                                              <p:spTgt spid="14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20" dur="1200" fill="hold"/>
                                            <p:tgtEl>
                                              <p:spTgt spid="14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11" grpId="0" animBg="1"/>
          <p:bldP spid="12" grpId="0" animBg="1"/>
          <p:bldP spid="13" grpId="0" animBg="1"/>
          <p:bldP spid="14" grpId="0" animBg="1"/>
        </p:bldLst>
      </p:timing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180FF5E0-9782-4262-8C8E-F25D5187B2A1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931683" y="1605183"/>
            <a:ext cx="2482838" cy="4462577"/>
          </a:xfrm>
          <a:custGeom>
            <a:avLst/>
            <a:gdLst>
              <a:gd name="connsiteX0" fmla="*/ 0 w 4966322"/>
              <a:gd name="connsiteY0" fmla="*/ 0 h 6705600"/>
              <a:gd name="connsiteX1" fmla="*/ 4966322 w 4966322"/>
              <a:gd name="connsiteY1" fmla="*/ 0 h 6705600"/>
              <a:gd name="connsiteX2" fmla="*/ 4966322 w 4966322"/>
              <a:gd name="connsiteY2" fmla="*/ 6705600 h 6705600"/>
              <a:gd name="connsiteX3" fmla="*/ 0 w 4966322"/>
              <a:gd name="connsiteY3" fmla="*/ 6705600 h 6705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966322" h="6705600">
                <a:moveTo>
                  <a:pt x="0" y="0"/>
                </a:moveTo>
                <a:lnTo>
                  <a:pt x="4966322" y="0"/>
                </a:lnTo>
                <a:lnTo>
                  <a:pt x="4966322" y="6705600"/>
                </a:lnTo>
                <a:lnTo>
                  <a:pt x="0" y="6705600"/>
                </a:lnTo>
                <a:close/>
              </a:path>
            </a:pathLst>
          </a:custGeom>
          <a:pattFill prst="pct60">
            <a:fgClr>
              <a:srgbClr val="FFFFFF"/>
            </a:fgClr>
            <a:bgClr>
              <a:srgbClr val="E6E9EE"/>
            </a:bgClr>
          </a:pattFill>
        </p:spPr>
        <p:txBody>
          <a:bodyPr anchor="ctr"/>
          <a:lstStyle>
            <a:lvl1pPr>
              <a:defRPr lang="en-US"/>
            </a:lvl1pPr>
          </a:lstStyle>
          <a:p>
            <a:pPr lvl="0"/>
            <a:endParaRPr lang="en-US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170C477C-0616-4B25-AECC-C8579212EECC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3546948" y="1605183"/>
            <a:ext cx="2482838" cy="4462577"/>
          </a:xfrm>
          <a:custGeom>
            <a:avLst/>
            <a:gdLst>
              <a:gd name="connsiteX0" fmla="*/ 0 w 4966322"/>
              <a:gd name="connsiteY0" fmla="*/ 0 h 6705600"/>
              <a:gd name="connsiteX1" fmla="*/ 4966322 w 4966322"/>
              <a:gd name="connsiteY1" fmla="*/ 0 h 6705600"/>
              <a:gd name="connsiteX2" fmla="*/ 4966322 w 4966322"/>
              <a:gd name="connsiteY2" fmla="*/ 6705600 h 6705600"/>
              <a:gd name="connsiteX3" fmla="*/ 0 w 4966322"/>
              <a:gd name="connsiteY3" fmla="*/ 6705600 h 6705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966322" h="6705600">
                <a:moveTo>
                  <a:pt x="0" y="0"/>
                </a:moveTo>
                <a:lnTo>
                  <a:pt x="4966322" y="0"/>
                </a:lnTo>
                <a:lnTo>
                  <a:pt x="4966322" y="6705600"/>
                </a:lnTo>
                <a:lnTo>
                  <a:pt x="0" y="6705600"/>
                </a:lnTo>
                <a:close/>
              </a:path>
            </a:pathLst>
          </a:custGeom>
          <a:pattFill prst="pct60">
            <a:fgClr>
              <a:srgbClr val="FFFFFF"/>
            </a:fgClr>
            <a:bgClr>
              <a:srgbClr val="E6E9EE"/>
            </a:bgClr>
          </a:pattFill>
        </p:spPr>
        <p:txBody>
          <a:bodyPr anchor="ctr"/>
          <a:lstStyle>
            <a:lvl1pPr>
              <a:defRPr lang="en-US"/>
            </a:lvl1pPr>
          </a:lstStyle>
          <a:p>
            <a:pPr lvl="0"/>
            <a:endParaRPr lang="en-US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DF1CF97D-2FDA-4292-861E-0CA5A754E9CA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6162213" y="1605183"/>
            <a:ext cx="2482838" cy="4462577"/>
          </a:xfrm>
          <a:custGeom>
            <a:avLst/>
            <a:gdLst>
              <a:gd name="connsiteX0" fmla="*/ 0 w 4966322"/>
              <a:gd name="connsiteY0" fmla="*/ 0 h 6705600"/>
              <a:gd name="connsiteX1" fmla="*/ 4966322 w 4966322"/>
              <a:gd name="connsiteY1" fmla="*/ 0 h 6705600"/>
              <a:gd name="connsiteX2" fmla="*/ 4966322 w 4966322"/>
              <a:gd name="connsiteY2" fmla="*/ 6705600 h 6705600"/>
              <a:gd name="connsiteX3" fmla="*/ 0 w 4966322"/>
              <a:gd name="connsiteY3" fmla="*/ 6705600 h 6705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966322" h="6705600">
                <a:moveTo>
                  <a:pt x="0" y="0"/>
                </a:moveTo>
                <a:lnTo>
                  <a:pt x="4966322" y="0"/>
                </a:lnTo>
                <a:lnTo>
                  <a:pt x="4966322" y="6705600"/>
                </a:lnTo>
                <a:lnTo>
                  <a:pt x="0" y="6705600"/>
                </a:lnTo>
                <a:close/>
              </a:path>
            </a:pathLst>
          </a:custGeom>
          <a:pattFill prst="pct60">
            <a:fgClr>
              <a:srgbClr val="FFFFFF"/>
            </a:fgClr>
            <a:bgClr>
              <a:srgbClr val="E6E9EE"/>
            </a:bgClr>
          </a:pattFill>
        </p:spPr>
        <p:txBody>
          <a:bodyPr anchor="ctr"/>
          <a:lstStyle>
            <a:lvl1pPr>
              <a:defRPr lang="en-US"/>
            </a:lvl1pPr>
          </a:lstStyle>
          <a:p>
            <a:pPr lvl="0"/>
            <a:endParaRPr lang="en-US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E34B1061-2D91-4253-9DCF-0987EC9BF35D}"/>
              </a:ext>
            </a:extLst>
          </p:cNvPr>
          <p:cNvSpPr>
            <a:spLocks noGrp="1"/>
          </p:cNvSpPr>
          <p:nvPr>
            <p:ph type="pic" sz="quarter" idx="43"/>
          </p:nvPr>
        </p:nvSpPr>
        <p:spPr>
          <a:xfrm>
            <a:off x="8777478" y="1605183"/>
            <a:ext cx="2482837" cy="4462577"/>
          </a:xfrm>
          <a:custGeom>
            <a:avLst/>
            <a:gdLst>
              <a:gd name="connsiteX0" fmla="*/ 0 w 4966320"/>
              <a:gd name="connsiteY0" fmla="*/ 0 h 6705600"/>
              <a:gd name="connsiteX1" fmla="*/ 4966320 w 4966320"/>
              <a:gd name="connsiteY1" fmla="*/ 0 h 6705600"/>
              <a:gd name="connsiteX2" fmla="*/ 4966320 w 4966320"/>
              <a:gd name="connsiteY2" fmla="*/ 6705600 h 6705600"/>
              <a:gd name="connsiteX3" fmla="*/ 0 w 4966320"/>
              <a:gd name="connsiteY3" fmla="*/ 6705600 h 6705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966320" h="6705600">
                <a:moveTo>
                  <a:pt x="0" y="0"/>
                </a:moveTo>
                <a:lnTo>
                  <a:pt x="4966320" y="0"/>
                </a:lnTo>
                <a:lnTo>
                  <a:pt x="4966320" y="6705600"/>
                </a:lnTo>
                <a:lnTo>
                  <a:pt x="0" y="6705600"/>
                </a:lnTo>
                <a:close/>
              </a:path>
            </a:pathLst>
          </a:custGeom>
          <a:pattFill prst="pct60">
            <a:fgClr>
              <a:srgbClr val="FFFFFF"/>
            </a:fgClr>
            <a:bgClr>
              <a:srgbClr val="E6E9EE"/>
            </a:bgClr>
          </a:pattFill>
        </p:spPr>
        <p:txBody>
          <a:bodyPr anchor="ctr"/>
          <a:lstStyle>
            <a:lvl1pPr>
              <a:defRPr lang="en-US"/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976149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4" accel="81000" fill="hold" grpId="0" nodeType="withEffect" p14:presetBounceEnd="48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48000">
                                          <p:cBhvr additive="base">
                                            <p:cTn id="7" dur="1000" fill="hold"/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48000">
                                          <p:cBhvr additive="base">
                                            <p:cTn id="8" dur="1000" fill="hold"/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4" accel="81000" fill="hold" grpId="0" nodeType="withEffect" p14:presetBounceEnd="48000">
                                      <p:stCondLst>
                                        <p:cond delay="20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48000">
                                          <p:cBhvr additive="base">
                                            <p:cTn id="11" dur="1000" fill="hold"/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48000">
                                          <p:cBhvr additive="base">
                                            <p:cTn id="12" dur="1000" fill="hold"/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3" presetID="2" presetClass="entr" presetSubtype="4" accel="81000" fill="hold" grpId="0" nodeType="withEffect" p14:presetBounceEnd="48000">
                                      <p:stCondLst>
                                        <p:cond delay="400"/>
                                      </p:stCondLst>
                                      <p:childTnLst>
                                        <p:set>
                                          <p:cBhvr>
                                            <p:cTn id="1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48000">
                                          <p:cBhvr additive="base">
                                            <p:cTn id="15" dur="1000" fill="hold"/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48000">
                                          <p:cBhvr additive="base">
                                            <p:cTn id="16" dur="1000" fill="hold"/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7" presetID="2" presetClass="entr" presetSubtype="4" accel="81000" fill="hold" grpId="0" nodeType="withEffect" p14:presetBounceEnd="48000">
                                      <p:stCondLst>
                                        <p:cond delay="600"/>
                                      </p:stCondLst>
                                      <p:childTnLst>
                                        <p:set>
                                          <p:cBhvr>
                                            <p:cTn id="1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48000">
                                          <p:cBhvr additive="base">
                                            <p:cTn id="19" dur="1000" fill="hold"/>
                                            <p:tgtEl>
                                              <p:spTgt spid="14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48000">
                                          <p:cBhvr additive="base">
                                            <p:cTn id="20" dur="1000" fill="hold"/>
                                            <p:tgtEl>
                                              <p:spTgt spid="14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11" grpId="0" animBg="1"/>
          <p:bldP spid="12" grpId="0" animBg="1"/>
          <p:bldP spid="13" grpId="0" animBg="1"/>
          <p:bldP spid="14" grpId="0" animBg="1"/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4" accel="8100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1000" fill="hold"/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1000" fill="hold"/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4" accel="81000" fill="hold" grpId="0" nodeType="withEffect">
                                      <p:stCondLst>
                                        <p:cond delay="20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1" dur="1000" fill="hold"/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2" dur="1000" fill="hold"/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3" presetID="2" presetClass="entr" presetSubtype="4" accel="81000" fill="hold" grpId="0" nodeType="withEffect">
                                      <p:stCondLst>
                                        <p:cond delay="400"/>
                                      </p:stCondLst>
                                      <p:childTnLst>
                                        <p:set>
                                          <p:cBhvr>
                                            <p:cTn id="1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5" dur="1000" fill="hold"/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6" dur="1000" fill="hold"/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7" presetID="2" presetClass="entr" presetSubtype="4" accel="81000" fill="hold" grpId="0" nodeType="withEffect">
                                      <p:stCondLst>
                                        <p:cond delay="600"/>
                                      </p:stCondLst>
                                      <p:childTnLst>
                                        <p:set>
                                          <p:cBhvr>
                                            <p:cTn id="1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9" dur="1000" fill="hold"/>
                                            <p:tgtEl>
                                              <p:spTgt spid="14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20" dur="1000" fill="hold"/>
                                            <p:tgtEl>
                                              <p:spTgt spid="14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11" grpId="0" animBg="1"/>
          <p:bldP spid="12" grpId="0" animBg="1"/>
          <p:bldP spid="13" grpId="0" animBg="1"/>
          <p:bldP spid="14" grpId="0" animBg="1"/>
        </p:bldLst>
      </p:timing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180FF5E0-9782-4262-8C8E-F25D5187B2A1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2244119" y="1605183"/>
            <a:ext cx="2482838" cy="4462577"/>
          </a:xfrm>
          <a:custGeom>
            <a:avLst/>
            <a:gdLst>
              <a:gd name="connsiteX0" fmla="*/ 0 w 4966322"/>
              <a:gd name="connsiteY0" fmla="*/ 0 h 6705600"/>
              <a:gd name="connsiteX1" fmla="*/ 4966322 w 4966322"/>
              <a:gd name="connsiteY1" fmla="*/ 0 h 6705600"/>
              <a:gd name="connsiteX2" fmla="*/ 4966322 w 4966322"/>
              <a:gd name="connsiteY2" fmla="*/ 6705600 h 6705600"/>
              <a:gd name="connsiteX3" fmla="*/ 0 w 4966322"/>
              <a:gd name="connsiteY3" fmla="*/ 6705600 h 6705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966322" h="6705600">
                <a:moveTo>
                  <a:pt x="0" y="0"/>
                </a:moveTo>
                <a:lnTo>
                  <a:pt x="4966322" y="0"/>
                </a:lnTo>
                <a:lnTo>
                  <a:pt x="4966322" y="6705600"/>
                </a:lnTo>
                <a:lnTo>
                  <a:pt x="0" y="6705600"/>
                </a:lnTo>
                <a:close/>
              </a:path>
            </a:pathLst>
          </a:custGeom>
          <a:pattFill prst="pct60">
            <a:fgClr>
              <a:srgbClr val="FFFFFF"/>
            </a:fgClr>
            <a:bgClr>
              <a:srgbClr val="E6E9EE"/>
            </a:bgClr>
          </a:pattFill>
        </p:spPr>
        <p:txBody>
          <a:bodyPr anchor="ctr"/>
          <a:lstStyle>
            <a:lvl1pPr>
              <a:defRPr lang="en-US"/>
            </a:lvl1pPr>
          </a:lstStyle>
          <a:p>
            <a:pPr lvl="0"/>
            <a:endParaRPr lang="en-US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170C477C-0616-4B25-AECC-C8579212EECC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4859384" y="1605183"/>
            <a:ext cx="2482838" cy="4462577"/>
          </a:xfrm>
          <a:custGeom>
            <a:avLst/>
            <a:gdLst>
              <a:gd name="connsiteX0" fmla="*/ 0 w 4966322"/>
              <a:gd name="connsiteY0" fmla="*/ 0 h 6705600"/>
              <a:gd name="connsiteX1" fmla="*/ 4966322 w 4966322"/>
              <a:gd name="connsiteY1" fmla="*/ 0 h 6705600"/>
              <a:gd name="connsiteX2" fmla="*/ 4966322 w 4966322"/>
              <a:gd name="connsiteY2" fmla="*/ 6705600 h 6705600"/>
              <a:gd name="connsiteX3" fmla="*/ 0 w 4966322"/>
              <a:gd name="connsiteY3" fmla="*/ 6705600 h 6705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966322" h="6705600">
                <a:moveTo>
                  <a:pt x="0" y="0"/>
                </a:moveTo>
                <a:lnTo>
                  <a:pt x="4966322" y="0"/>
                </a:lnTo>
                <a:lnTo>
                  <a:pt x="4966322" y="6705600"/>
                </a:lnTo>
                <a:lnTo>
                  <a:pt x="0" y="6705600"/>
                </a:lnTo>
                <a:close/>
              </a:path>
            </a:pathLst>
          </a:custGeom>
          <a:pattFill prst="pct60">
            <a:fgClr>
              <a:srgbClr val="FFFFFF"/>
            </a:fgClr>
            <a:bgClr>
              <a:srgbClr val="E6E9EE"/>
            </a:bgClr>
          </a:pattFill>
        </p:spPr>
        <p:txBody>
          <a:bodyPr anchor="ctr"/>
          <a:lstStyle>
            <a:lvl1pPr>
              <a:defRPr lang="en-US"/>
            </a:lvl1pPr>
          </a:lstStyle>
          <a:p>
            <a:pPr lvl="0"/>
            <a:endParaRPr lang="en-US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DF1CF97D-2FDA-4292-861E-0CA5A754E9CA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7474649" y="1605183"/>
            <a:ext cx="2482838" cy="4462577"/>
          </a:xfrm>
          <a:custGeom>
            <a:avLst/>
            <a:gdLst>
              <a:gd name="connsiteX0" fmla="*/ 0 w 4966322"/>
              <a:gd name="connsiteY0" fmla="*/ 0 h 6705600"/>
              <a:gd name="connsiteX1" fmla="*/ 4966322 w 4966322"/>
              <a:gd name="connsiteY1" fmla="*/ 0 h 6705600"/>
              <a:gd name="connsiteX2" fmla="*/ 4966322 w 4966322"/>
              <a:gd name="connsiteY2" fmla="*/ 6705600 h 6705600"/>
              <a:gd name="connsiteX3" fmla="*/ 0 w 4966322"/>
              <a:gd name="connsiteY3" fmla="*/ 6705600 h 6705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966322" h="6705600">
                <a:moveTo>
                  <a:pt x="0" y="0"/>
                </a:moveTo>
                <a:lnTo>
                  <a:pt x="4966322" y="0"/>
                </a:lnTo>
                <a:lnTo>
                  <a:pt x="4966322" y="6705600"/>
                </a:lnTo>
                <a:lnTo>
                  <a:pt x="0" y="6705600"/>
                </a:lnTo>
                <a:close/>
              </a:path>
            </a:pathLst>
          </a:custGeom>
          <a:pattFill prst="pct60">
            <a:fgClr>
              <a:srgbClr val="FFFFFF"/>
            </a:fgClr>
            <a:bgClr>
              <a:srgbClr val="E6E9EE"/>
            </a:bgClr>
          </a:pattFill>
        </p:spPr>
        <p:txBody>
          <a:bodyPr anchor="ctr"/>
          <a:lstStyle>
            <a:lvl1pPr>
              <a:defRPr lang="en-US"/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8526843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accel="38000" decel="62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accel="38000" decel="62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2" accel="38000" decel="6200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12" grpId="0" animBg="1"/>
      <p:bldP spid="13" grpId="0" animBg="1"/>
    </p:bldLst>
  </p:timing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  <p15:guide id="2" pos="7681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180FF5E0-9782-4262-8C8E-F25D5187B2A1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949484" y="1197712"/>
            <a:ext cx="2482838" cy="3898724"/>
          </a:xfrm>
          <a:custGeom>
            <a:avLst/>
            <a:gdLst>
              <a:gd name="connsiteX0" fmla="*/ 0 w 4966322"/>
              <a:gd name="connsiteY0" fmla="*/ 0 h 6705600"/>
              <a:gd name="connsiteX1" fmla="*/ 4966322 w 4966322"/>
              <a:gd name="connsiteY1" fmla="*/ 0 h 6705600"/>
              <a:gd name="connsiteX2" fmla="*/ 4966322 w 4966322"/>
              <a:gd name="connsiteY2" fmla="*/ 6705600 h 6705600"/>
              <a:gd name="connsiteX3" fmla="*/ 0 w 4966322"/>
              <a:gd name="connsiteY3" fmla="*/ 6705600 h 6705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966322" h="6705600">
                <a:moveTo>
                  <a:pt x="0" y="0"/>
                </a:moveTo>
                <a:lnTo>
                  <a:pt x="4966322" y="0"/>
                </a:lnTo>
                <a:lnTo>
                  <a:pt x="4966322" y="6705600"/>
                </a:lnTo>
                <a:lnTo>
                  <a:pt x="0" y="6705600"/>
                </a:lnTo>
                <a:close/>
              </a:path>
            </a:pathLst>
          </a:custGeom>
          <a:pattFill prst="pct60">
            <a:fgClr>
              <a:srgbClr val="FFFFFF"/>
            </a:fgClr>
            <a:bgClr>
              <a:srgbClr val="E6E9EE"/>
            </a:bgClr>
          </a:pattFill>
        </p:spPr>
        <p:txBody>
          <a:bodyPr anchor="ctr"/>
          <a:lstStyle>
            <a:lvl1pPr>
              <a:defRPr lang="en-US"/>
            </a:lvl1pPr>
          </a:lstStyle>
          <a:p>
            <a:pPr lvl="0"/>
            <a:endParaRPr lang="en-US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280F5ECF-FA0D-41F4-BED6-8DC0A0700432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3559608" y="1197712"/>
            <a:ext cx="2482838" cy="3898724"/>
          </a:xfrm>
          <a:custGeom>
            <a:avLst/>
            <a:gdLst>
              <a:gd name="connsiteX0" fmla="*/ 0 w 4966322"/>
              <a:gd name="connsiteY0" fmla="*/ 0 h 6705600"/>
              <a:gd name="connsiteX1" fmla="*/ 4966322 w 4966322"/>
              <a:gd name="connsiteY1" fmla="*/ 0 h 6705600"/>
              <a:gd name="connsiteX2" fmla="*/ 4966322 w 4966322"/>
              <a:gd name="connsiteY2" fmla="*/ 6705600 h 6705600"/>
              <a:gd name="connsiteX3" fmla="*/ 0 w 4966322"/>
              <a:gd name="connsiteY3" fmla="*/ 6705600 h 6705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966322" h="6705600">
                <a:moveTo>
                  <a:pt x="0" y="0"/>
                </a:moveTo>
                <a:lnTo>
                  <a:pt x="4966322" y="0"/>
                </a:lnTo>
                <a:lnTo>
                  <a:pt x="4966322" y="6705600"/>
                </a:lnTo>
                <a:lnTo>
                  <a:pt x="0" y="6705600"/>
                </a:lnTo>
                <a:close/>
              </a:path>
            </a:pathLst>
          </a:custGeom>
          <a:pattFill prst="pct60">
            <a:fgClr>
              <a:srgbClr val="FFFFFF"/>
            </a:fgClr>
            <a:bgClr>
              <a:srgbClr val="E6E9EE"/>
            </a:bgClr>
          </a:pattFill>
        </p:spPr>
        <p:txBody>
          <a:bodyPr anchor="ctr"/>
          <a:lstStyle>
            <a:lvl1pPr>
              <a:defRPr lang="en-US"/>
            </a:lvl1pPr>
          </a:lstStyle>
          <a:p>
            <a:pPr lvl="0"/>
            <a:endParaRPr lang="en-US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2DFE8DDD-E08B-487F-939D-C82BD1C71FD0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6169733" y="1197712"/>
            <a:ext cx="2482838" cy="3898724"/>
          </a:xfrm>
          <a:custGeom>
            <a:avLst/>
            <a:gdLst>
              <a:gd name="connsiteX0" fmla="*/ 0 w 4966322"/>
              <a:gd name="connsiteY0" fmla="*/ 0 h 6705600"/>
              <a:gd name="connsiteX1" fmla="*/ 4966322 w 4966322"/>
              <a:gd name="connsiteY1" fmla="*/ 0 h 6705600"/>
              <a:gd name="connsiteX2" fmla="*/ 4966322 w 4966322"/>
              <a:gd name="connsiteY2" fmla="*/ 6705600 h 6705600"/>
              <a:gd name="connsiteX3" fmla="*/ 0 w 4966322"/>
              <a:gd name="connsiteY3" fmla="*/ 6705600 h 6705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966322" h="6705600">
                <a:moveTo>
                  <a:pt x="0" y="0"/>
                </a:moveTo>
                <a:lnTo>
                  <a:pt x="4966322" y="0"/>
                </a:lnTo>
                <a:lnTo>
                  <a:pt x="4966322" y="6705600"/>
                </a:lnTo>
                <a:lnTo>
                  <a:pt x="0" y="6705600"/>
                </a:lnTo>
                <a:close/>
              </a:path>
            </a:pathLst>
          </a:custGeom>
          <a:pattFill prst="pct60">
            <a:fgClr>
              <a:srgbClr val="FFFFFF"/>
            </a:fgClr>
            <a:bgClr>
              <a:srgbClr val="E6E9EE"/>
            </a:bgClr>
          </a:pattFill>
        </p:spPr>
        <p:txBody>
          <a:bodyPr anchor="ctr"/>
          <a:lstStyle>
            <a:lvl1pPr>
              <a:defRPr lang="en-US"/>
            </a:lvl1pPr>
          </a:lstStyle>
          <a:p>
            <a:pPr lvl="0"/>
            <a:endParaRPr lang="en-US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6B6A14B1-5BD5-4CA2-86FC-A299F6127078}"/>
              </a:ext>
            </a:extLst>
          </p:cNvPr>
          <p:cNvSpPr>
            <a:spLocks noGrp="1"/>
          </p:cNvSpPr>
          <p:nvPr>
            <p:ph type="pic" sz="quarter" idx="43"/>
          </p:nvPr>
        </p:nvSpPr>
        <p:spPr>
          <a:xfrm>
            <a:off x="8779858" y="1197712"/>
            <a:ext cx="2482838" cy="3898724"/>
          </a:xfrm>
          <a:custGeom>
            <a:avLst/>
            <a:gdLst>
              <a:gd name="connsiteX0" fmla="*/ 0 w 4966322"/>
              <a:gd name="connsiteY0" fmla="*/ 0 h 6705600"/>
              <a:gd name="connsiteX1" fmla="*/ 4966322 w 4966322"/>
              <a:gd name="connsiteY1" fmla="*/ 0 h 6705600"/>
              <a:gd name="connsiteX2" fmla="*/ 4966322 w 4966322"/>
              <a:gd name="connsiteY2" fmla="*/ 6705600 h 6705600"/>
              <a:gd name="connsiteX3" fmla="*/ 0 w 4966322"/>
              <a:gd name="connsiteY3" fmla="*/ 6705600 h 6705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966322" h="6705600">
                <a:moveTo>
                  <a:pt x="0" y="0"/>
                </a:moveTo>
                <a:lnTo>
                  <a:pt x="4966322" y="0"/>
                </a:lnTo>
                <a:lnTo>
                  <a:pt x="4966322" y="6705600"/>
                </a:lnTo>
                <a:lnTo>
                  <a:pt x="0" y="6705600"/>
                </a:lnTo>
                <a:close/>
              </a:path>
            </a:pathLst>
          </a:custGeom>
          <a:pattFill prst="pct60">
            <a:fgClr>
              <a:srgbClr val="FFFFFF"/>
            </a:fgClr>
            <a:bgClr>
              <a:srgbClr val="E6E9EE"/>
            </a:bgClr>
          </a:pattFill>
        </p:spPr>
        <p:txBody>
          <a:bodyPr anchor="ctr"/>
          <a:lstStyle>
            <a:lvl1pPr>
              <a:defRPr lang="en-US"/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852320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accel="38000" decel="62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accel="38000" decel="6200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8" accel="38000" decel="62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8" accel="38000" decel="6200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5" grpId="0" animBg="1"/>
      <p:bldP spid="6" grpId="0" animBg="1"/>
      <p:bldP spid="7" grpId="0" animBg="1"/>
    </p:bldLst>
  </p:timing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  <p15:guide id="2" pos="7681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D4B8AA38-6F73-4586-B483-53523EF1116E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686492" y="1828800"/>
            <a:ext cx="2348472" cy="1465730"/>
          </a:xfrm>
          <a:custGeom>
            <a:avLst/>
            <a:gdLst>
              <a:gd name="connsiteX0" fmla="*/ 0 w 4697555"/>
              <a:gd name="connsiteY0" fmla="*/ 0 h 2931460"/>
              <a:gd name="connsiteX1" fmla="*/ 4697555 w 4697555"/>
              <a:gd name="connsiteY1" fmla="*/ 0 h 2931460"/>
              <a:gd name="connsiteX2" fmla="*/ 4697555 w 4697555"/>
              <a:gd name="connsiteY2" fmla="*/ 2931460 h 2931460"/>
              <a:gd name="connsiteX3" fmla="*/ 0 w 4697555"/>
              <a:gd name="connsiteY3" fmla="*/ 2931460 h 29314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697555" h="2931460">
                <a:moveTo>
                  <a:pt x="0" y="0"/>
                </a:moveTo>
                <a:lnTo>
                  <a:pt x="4697555" y="0"/>
                </a:lnTo>
                <a:lnTo>
                  <a:pt x="4697555" y="2931460"/>
                </a:lnTo>
                <a:lnTo>
                  <a:pt x="0" y="2931460"/>
                </a:lnTo>
                <a:close/>
              </a:path>
            </a:pathLst>
          </a:custGeom>
          <a:pattFill prst="pct60">
            <a:fgClr>
              <a:srgbClr val="FFFFFF"/>
            </a:fgClr>
            <a:bgClr>
              <a:srgbClr val="E6E9EE"/>
            </a:bgClr>
          </a:pattFill>
        </p:spPr>
        <p:txBody>
          <a:bodyPr anchor="ctr"/>
          <a:lstStyle>
            <a:lvl1pPr>
              <a:defRPr lang="en-US"/>
            </a:lvl1pPr>
          </a:lstStyle>
          <a:p>
            <a:pPr lvl="0"/>
            <a:endParaRPr lang="en-US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135ECBCE-7512-4811-A88A-61113AE75F7A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3510007" y="1828800"/>
            <a:ext cx="2348472" cy="1465730"/>
          </a:xfrm>
          <a:custGeom>
            <a:avLst/>
            <a:gdLst>
              <a:gd name="connsiteX0" fmla="*/ 0 w 4697555"/>
              <a:gd name="connsiteY0" fmla="*/ 0 h 2931460"/>
              <a:gd name="connsiteX1" fmla="*/ 4697555 w 4697555"/>
              <a:gd name="connsiteY1" fmla="*/ 0 h 2931460"/>
              <a:gd name="connsiteX2" fmla="*/ 4697555 w 4697555"/>
              <a:gd name="connsiteY2" fmla="*/ 2931460 h 2931460"/>
              <a:gd name="connsiteX3" fmla="*/ 0 w 4697555"/>
              <a:gd name="connsiteY3" fmla="*/ 2931460 h 29314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697555" h="2931460">
                <a:moveTo>
                  <a:pt x="0" y="0"/>
                </a:moveTo>
                <a:lnTo>
                  <a:pt x="4697555" y="0"/>
                </a:lnTo>
                <a:lnTo>
                  <a:pt x="4697555" y="2931460"/>
                </a:lnTo>
                <a:lnTo>
                  <a:pt x="0" y="2931460"/>
                </a:lnTo>
                <a:close/>
              </a:path>
            </a:pathLst>
          </a:custGeom>
          <a:pattFill prst="pct60">
            <a:fgClr>
              <a:srgbClr val="FFFFFF"/>
            </a:fgClr>
            <a:bgClr>
              <a:srgbClr val="E6E9EE"/>
            </a:bgClr>
          </a:pattFill>
        </p:spPr>
        <p:txBody>
          <a:bodyPr anchor="ctr"/>
          <a:lstStyle>
            <a:lvl1pPr>
              <a:defRPr lang="en-US"/>
            </a:lvl1pPr>
          </a:lstStyle>
          <a:p>
            <a:pPr lvl="0"/>
            <a:endParaRPr lang="en-US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6A89E65B-19FF-4927-98A8-4E005823E969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6333521" y="1828800"/>
            <a:ext cx="2348472" cy="1465730"/>
          </a:xfrm>
          <a:custGeom>
            <a:avLst/>
            <a:gdLst>
              <a:gd name="connsiteX0" fmla="*/ 0 w 4697556"/>
              <a:gd name="connsiteY0" fmla="*/ 0 h 2931460"/>
              <a:gd name="connsiteX1" fmla="*/ 4697556 w 4697556"/>
              <a:gd name="connsiteY1" fmla="*/ 0 h 2931460"/>
              <a:gd name="connsiteX2" fmla="*/ 4697556 w 4697556"/>
              <a:gd name="connsiteY2" fmla="*/ 2931460 h 2931460"/>
              <a:gd name="connsiteX3" fmla="*/ 0 w 4697556"/>
              <a:gd name="connsiteY3" fmla="*/ 2931460 h 29314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697556" h="2931460">
                <a:moveTo>
                  <a:pt x="0" y="0"/>
                </a:moveTo>
                <a:lnTo>
                  <a:pt x="4697556" y="0"/>
                </a:lnTo>
                <a:lnTo>
                  <a:pt x="4697556" y="2931460"/>
                </a:lnTo>
                <a:lnTo>
                  <a:pt x="0" y="2931460"/>
                </a:lnTo>
                <a:close/>
              </a:path>
            </a:pathLst>
          </a:custGeom>
          <a:pattFill prst="pct60">
            <a:fgClr>
              <a:srgbClr val="FFFFFF"/>
            </a:fgClr>
            <a:bgClr>
              <a:srgbClr val="E6E9EE"/>
            </a:bgClr>
          </a:pattFill>
        </p:spPr>
        <p:txBody>
          <a:bodyPr anchor="ctr"/>
          <a:lstStyle>
            <a:lvl1pPr>
              <a:defRPr lang="en-US"/>
            </a:lvl1pPr>
          </a:lstStyle>
          <a:p>
            <a:pPr lvl="0"/>
            <a:endParaRPr lang="en-US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FDCF3998-E81D-49D7-B078-F19837D4418B}"/>
              </a:ext>
            </a:extLst>
          </p:cNvPr>
          <p:cNvSpPr>
            <a:spLocks noGrp="1"/>
          </p:cNvSpPr>
          <p:nvPr>
            <p:ph type="pic" sz="quarter" idx="43"/>
          </p:nvPr>
        </p:nvSpPr>
        <p:spPr>
          <a:xfrm>
            <a:off x="9157035" y="1828800"/>
            <a:ext cx="2348472" cy="1465730"/>
          </a:xfrm>
          <a:custGeom>
            <a:avLst/>
            <a:gdLst>
              <a:gd name="connsiteX0" fmla="*/ 0 w 4697556"/>
              <a:gd name="connsiteY0" fmla="*/ 0 h 2931460"/>
              <a:gd name="connsiteX1" fmla="*/ 4697556 w 4697556"/>
              <a:gd name="connsiteY1" fmla="*/ 0 h 2931460"/>
              <a:gd name="connsiteX2" fmla="*/ 4697556 w 4697556"/>
              <a:gd name="connsiteY2" fmla="*/ 2931460 h 2931460"/>
              <a:gd name="connsiteX3" fmla="*/ 0 w 4697556"/>
              <a:gd name="connsiteY3" fmla="*/ 2931460 h 29314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697556" h="2931460">
                <a:moveTo>
                  <a:pt x="0" y="0"/>
                </a:moveTo>
                <a:lnTo>
                  <a:pt x="4697556" y="0"/>
                </a:lnTo>
                <a:lnTo>
                  <a:pt x="4697556" y="2931460"/>
                </a:lnTo>
                <a:lnTo>
                  <a:pt x="0" y="2931460"/>
                </a:lnTo>
                <a:close/>
              </a:path>
            </a:pathLst>
          </a:custGeom>
          <a:pattFill prst="pct60">
            <a:fgClr>
              <a:srgbClr val="FFFFFF"/>
            </a:fgClr>
            <a:bgClr>
              <a:srgbClr val="E6E9EE"/>
            </a:bgClr>
          </a:pattFill>
        </p:spPr>
        <p:txBody>
          <a:bodyPr anchor="ctr"/>
          <a:lstStyle>
            <a:lvl1pPr>
              <a:defRPr lang="en-US"/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349581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D4B8AA38-6F73-4586-B483-53523EF1116E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1703761" y="2024522"/>
            <a:ext cx="2841651" cy="1773534"/>
          </a:xfrm>
          <a:custGeom>
            <a:avLst/>
            <a:gdLst>
              <a:gd name="connsiteX0" fmla="*/ 0 w 4697555"/>
              <a:gd name="connsiteY0" fmla="*/ 0 h 2931460"/>
              <a:gd name="connsiteX1" fmla="*/ 4697555 w 4697555"/>
              <a:gd name="connsiteY1" fmla="*/ 0 h 2931460"/>
              <a:gd name="connsiteX2" fmla="*/ 4697555 w 4697555"/>
              <a:gd name="connsiteY2" fmla="*/ 2931460 h 2931460"/>
              <a:gd name="connsiteX3" fmla="*/ 0 w 4697555"/>
              <a:gd name="connsiteY3" fmla="*/ 2931460 h 29314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697555" h="2931460">
                <a:moveTo>
                  <a:pt x="0" y="0"/>
                </a:moveTo>
                <a:lnTo>
                  <a:pt x="4697555" y="0"/>
                </a:lnTo>
                <a:lnTo>
                  <a:pt x="4697555" y="2931460"/>
                </a:lnTo>
                <a:lnTo>
                  <a:pt x="0" y="2931460"/>
                </a:lnTo>
                <a:close/>
              </a:path>
            </a:pathLst>
          </a:custGeom>
          <a:pattFill prst="pct60">
            <a:fgClr>
              <a:srgbClr val="FFFFFF"/>
            </a:fgClr>
            <a:bgClr>
              <a:srgbClr val="E6E9EE"/>
            </a:bgClr>
          </a:pattFill>
        </p:spPr>
        <p:txBody>
          <a:bodyPr anchor="ctr"/>
          <a:lstStyle>
            <a:lvl1pPr>
              <a:defRPr lang="en-US"/>
            </a:lvl1pPr>
          </a:lstStyle>
          <a:p>
            <a:pPr lvl="0"/>
            <a:endParaRPr lang="en-US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135ECBCE-7512-4811-A88A-61113AE75F7A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4661729" y="2024522"/>
            <a:ext cx="2841651" cy="1773534"/>
          </a:xfrm>
          <a:custGeom>
            <a:avLst/>
            <a:gdLst>
              <a:gd name="connsiteX0" fmla="*/ 0 w 4697555"/>
              <a:gd name="connsiteY0" fmla="*/ 0 h 2931460"/>
              <a:gd name="connsiteX1" fmla="*/ 4697555 w 4697555"/>
              <a:gd name="connsiteY1" fmla="*/ 0 h 2931460"/>
              <a:gd name="connsiteX2" fmla="*/ 4697555 w 4697555"/>
              <a:gd name="connsiteY2" fmla="*/ 2931460 h 2931460"/>
              <a:gd name="connsiteX3" fmla="*/ 0 w 4697555"/>
              <a:gd name="connsiteY3" fmla="*/ 2931460 h 29314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697555" h="2931460">
                <a:moveTo>
                  <a:pt x="0" y="0"/>
                </a:moveTo>
                <a:lnTo>
                  <a:pt x="4697555" y="0"/>
                </a:lnTo>
                <a:lnTo>
                  <a:pt x="4697555" y="2931460"/>
                </a:lnTo>
                <a:lnTo>
                  <a:pt x="0" y="2931460"/>
                </a:lnTo>
                <a:close/>
              </a:path>
            </a:pathLst>
          </a:custGeom>
          <a:pattFill prst="pct60">
            <a:fgClr>
              <a:srgbClr val="FFFFFF"/>
            </a:fgClr>
            <a:bgClr>
              <a:srgbClr val="E6E9EE"/>
            </a:bgClr>
          </a:pattFill>
        </p:spPr>
        <p:txBody>
          <a:bodyPr anchor="ctr"/>
          <a:lstStyle>
            <a:lvl1pPr>
              <a:defRPr lang="en-US"/>
            </a:lvl1pPr>
          </a:lstStyle>
          <a:p>
            <a:pPr lvl="0"/>
            <a:endParaRPr lang="en-US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6A89E65B-19FF-4927-98A8-4E005823E969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7619697" y="2024522"/>
            <a:ext cx="2841651" cy="1773534"/>
          </a:xfrm>
          <a:custGeom>
            <a:avLst/>
            <a:gdLst>
              <a:gd name="connsiteX0" fmla="*/ 0 w 4697556"/>
              <a:gd name="connsiteY0" fmla="*/ 0 h 2931460"/>
              <a:gd name="connsiteX1" fmla="*/ 4697556 w 4697556"/>
              <a:gd name="connsiteY1" fmla="*/ 0 h 2931460"/>
              <a:gd name="connsiteX2" fmla="*/ 4697556 w 4697556"/>
              <a:gd name="connsiteY2" fmla="*/ 2931460 h 2931460"/>
              <a:gd name="connsiteX3" fmla="*/ 0 w 4697556"/>
              <a:gd name="connsiteY3" fmla="*/ 2931460 h 29314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697556" h="2931460">
                <a:moveTo>
                  <a:pt x="0" y="0"/>
                </a:moveTo>
                <a:lnTo>
                  <a:pt x="4697556" y="0"/>
                </a:lnTo>
                <a:lnTo>
                  <a:pt x="4697556" y="2931460"/>
                </a:lnTo>
                <a:lnTo>
                  <a:pt x="0" y="2931460"/>
                </a:lnTo>
                <a:close/>
              </a:path>
            </a:pathLst>
          </a:custGeom>
          <a:pattFill prst="pct60">
            <a:fgClr>
              <a:srgbClr val="FFFFFF"/>
            </a:fgClr>
            <a:bgClr>
              <a:srgbClr val="E6E9EE"/>
            </a:bgClr>
          </a:pattFill>
        </p:spPr>
        <p:txBody>
          <a:bodyPr anchor="ctr"/>
          <a:lstStyle>
            <a:lvl1pPr>
              <a:defRPr lang="en-US"/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96832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  <p15:guide id="2" pos="7681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4A78B9B9-87C2-4E94-A516-96CFADBE2303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941171" y="1156447"/>
            <a:ext cx="2527718" cy="3784226"/>
          </a:xfrm>
          <a:custGeom>
            <a:avLst/>
            <a:gdLst>
              <a:gd name="connsiteX0" fmla="*/ 0 w 5056094"/>
              <a:gd name="connsiteY0" fmla="*/ 0 h 7568452"/>
              <a:gd name="connsiteX1" fmla="*/ 5056094 w 5056094"/>
              <a:gd name="connsiteY1" fmla="*/ 0 h 7568452"/>
              <a:gd name="connsiteX2" fmla="*/ 5056094 w 5056094"/>
              <a:gd name="connsiteY2" fmla="*/ 7568452 h 7568452"/>
              <a:gd name="connsiteX3" fmla="*/ 0 w 5056094"/>
              <a:gd name="connsiteY3" fmla="*/ 7568452 h 7568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056094" h="7568452">
                <a:moveTo>
                  <a:pt x="0" y="0"/>
                </a:moveTo>
                <a:lnTo>
                  <a:pt x="5056094" y="0"/>
                </a:lnTo>
                <a:lnTo>
                  <a:pt x="5056094" y="7568452"/>
                </a:lnTo>
                <a:lnTo>
                  <a:pt x="0" y="7568452"/>
                </a:lnTo>
                <a:close/>
              </a:path>
            </a:pathLst>
          </a:custGeom>
          <a:pattFill prst="pct60">
            <a:fgClr>
              <a:srgbClr val="FFFFFF"/>
            </a:fgClr>
            <a:bgClr>
              <a:srgbClr val="E6E9EE"/>
            </a:bgClr>
          </a:pattFill>
        </p:spPr>
        <p:txBody>
          <a:bodyPr anchor="ctr"/>
          <a:lstStyle>
            <a:lvl1pPr>
              <a:defRPr lang="en-US"/>
            </a:lvl1pPr>
          </a:lstStyle>
          <a:p>
            <a:pPr lvl="0"/>
            <a:endParaRPr lang="en-US"/>
          </a:p>
        </p:txBody>
      </p:sp>
      <p:sp>
        <p:nvSpPr>
          <p:cNvPr id="18" name="Picture Placeholder 17">
            <a:extLst>
              <a:ext uri="{FF2B5EF4-FFF2-40B4-BE49-F238E27FC236}">
                <a16:creationId xmlns:a16="http://schemas.microsoft.com/office/drawing/2014/main" id="{61909BFB-BB38-4018-AAEC-7D2EF2E710CF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3568282" y="1156447"/>
            <a:ext cx="2527718" cy="3784226"/>
          </a:xfrm>
          <a:custGeom>
            <a:avLst/>
            <a:gdLst>
              <a:gd name="connsiteX0" fmla="*/ 0 w 5056094"/>
              <a:gd name="connsiteY0" fmla="*/ 0 h 7568452"/>
              <a:gd name="connsiteX1" fmla="*/ 5056094 w 5056094"/>
              <a:gd name="connsiteY1" fmla="*/ 0 h 7568452"/>
              <a:gd name="connsiteX2" fmla="*/ 5056094 w 5056094"/>
              <a:gd name="connsiteY2" fmla="*/ 7568452 h 7568452"/>
              <a:gd name="connsiteX3" fmla="*/ 0 w 5056094"/>
              <a:gd name="connsiteY3" fmla="*/ 7568452 h 7568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056094" h="7568452">
                <a:moveTo>
                  <a:pt x="0" y="0"/>
                </a:moveTo>
                <a:lnTo>
                  <a:pt x="5056094" y="0"/>
                </a:lnTo>
                <a:lnTo>
                  <a:pt x="5056094" y="7568452"/>
                </a:lnTo>
                <a:lnTo>
                  <a:pt x="0" y="7568452"/>
                </a:lnTo>
                <a:close/>
              </a:path>
            </a:pathLst>
          </a:custGeom>
          <a:pattFill prst="pct60">
            <a:fgClr>
              <a:srgbClr val="FFFFFF"/>
            </a:fgClr>
            <a:bgClr>
              <a:srgbClr val="E6E9EE"/>
            </a:bgClr>
          </a:pattFill>
        </p:spPr>
        <p:txBody>
          <a:bodyPr anchor="ctr"/>
          <a:lstStyle>
            <a:lvl1pPr>
              <a:defRPr lang="en-US"/>
            </a:lvl1pPr>
          </a:lstStyle>
          <a:p>
            <a:pPr lvl="0"/>
            <a:endParaRPr lang="en-US"/>
          </a:p>
        </p:txBody>
      </p:sp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56481C08-79AF-4EEB-B132-E05B8BF1A281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6195393" y="1156447"/>
            <a:ext cx="2527718" cy="3784226"/>
          </a:xfrm>
          <a:custGeom>
            <a:avLst/>
            <a:gdLst>
              <a:gd name="connsiteX0" fmla="*/ 0 w 5056094"/>
              <a:gd name="connsiteY0" fmla="*/ 0 h 7568452"/>
              <a:gd name="connsiteX1" fmla="*/ 5056094 w 5056094"/>
              <a:gd name="connsiteY1" fmla="*/ 0 h 7568452"/>
              <a:gd name="connsiteX2" fmla="*/ 5056094 w 5056094"/>
              <a:gd name="connsiteY2" fmla="*/ 7568452 h 7568452"/>
              <a:gd name="connsiteX3" fmla="*/ 0 w 5056094"/>
              <a:gd name="connsiteY3" fmla="*/ 7568452 h 7568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056094" h="7568452">
                <a:moveTo>
                  <a:pt x="0" y="0"/>
                </a:moveTo>
                <a:lnTo>
                  <a:pt x="5056094" y="0"/>
                </a:lnTo>
                <a:lnTo>
                  <a:pt x="5056094" y="7568452"/>
                </a:lnTo>
                <a:lnTo>
                  <a:pt x="0" y="7568452"/>
                </a:lnTo>
                <a:close/>
              </a:path>
            </a:pathLst>
          </a:custGeom>
          <a:pattFill prst="pct60">
            <a:fgClr>
              <a:srgbClr val="FFFFFF"/>
            </a:fgClr>
            <a:bgClr>
              <a:srgbClr val="E6E9EE"/>
            </a:bgClr>
          </a:pattFill>
        </p:spPr>
        <p:txBody>
          <a:bodyPr anchor="ctr"/>
          <a:lstStyle>
            <a:lvl1pPr>
              <a:defRPr lang="en-US"/>
            </a:lvl1pPr>
          </a:lstStyle>
          <a:p>
            <a:pPr lvl="0"/>
            <a:endParaRPr lang="en-US"/>
          </a:p>
        </p:txBody>
      </p:sp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3A7E1B70-4896-4420-9B1A-599688791894}"/>
              </a:ext>
            </a:extLst>
          </p:cNvPr>
          <p:cNvSpPr>
            <a:spLocks noGrp="1"/>
          </p:cNvSpPr>
          <p:nvPr>
            <p:ph type="pic" sz="quarter" idx="43"/>
          </p:nvPr>
        </p:nvSpPr>
        <p:spPr>
          <a:xfrm>
            <a:off x="8822504" y="1156447"/>
            <a:ext cx="2527718" cy="3784226"/>
          </a:xfrm>
          <a:custGeom>
            <a:avLst/>
            <a:gdLst>
              <a:gd name="connsiteX0" fmla="*/ 0 w 5056094"/>
              <a:gd name="connsiteY0" fmla="*/ 0 h 7568452"/>
              <a:gd name="connsiteX1" fmla="*/ 5056094 w 5056094"/>
              <a:gd name="connsiteY1" fmla="*/ 0 h 7568452"/>
              <a:gd name="connsiteX2" fmla="*/ 5056094 w 5056094"/>
              <a:gd name="connsiteY2" fmla="*/ 7568452 h 7568452"/>
              <a:gd name="connsiteX3" fmla="*/ 0 w 5056094"/>
              <a:gd name="connsiteY3" fmla="*/ 7568452 h 7568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056094" h="7568452">
                <a:moveTo>
                  <a:pt x="0" y="0"/>
                </a:moveTo>
                <a:lnTo>
                  <a:pt x="5056094" y="0"/>
                </a:lnTo>
                <a:lnTo>
                  <a:pt x="5056094" y="7568452"/>
                </a:lnTo>
                <a:lnTo>
                  <a:pt x="0" y="7568452"/>
                </a:lnTo>
                <a:close/>
              </a:path>
            </a:pathLst>
          </a:custGeom>
          <a:pattFill prst="pct60">
            <a:fgClr>
              <a:srgbClr val="FFFFFF"/>
            </a:fgClr>
            <a:bgClr>
              <a:srgbClr val="E6E9EE"/>
            </a:bgClr>
          </a:pattFill>
        </p:spPr>
        <p:txBody>
          <a:bodyPr anchor="ctr"/>
          <a:lstStyle>
            <a:lvl1pPr>
              <a:defRPr lang="en-US"/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4146559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3326117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4A78B9B9-87C2-4E94-A516-96CFADBE2303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2205030" y="1237129"/>
            <a:ext cx="2527718" cy="3784226"/>
          </a:xfrm>
          <a:custGeom>
            <a:avLst/>
            <a:gdLst>
              <a:gd name="connsiteX0" fmla="*/ 0 w 5056094"/>
              <a:gd name="connsiteY0" fmla="*/ 0 h 7568452"/>
              <a:gd name="connsiteX1" fmla="*/ 5056094 w 5056094"/>
              <a:gd name="connsiteY1" fmla="*/ 0 h 7568452"/>
              <a:gd name="connsiteX2" fmla="*/ 5056094 w 5056094"/>
              <a:gd name="connsiteY2" fmla="*/ 7568452 h 7568452"/>
              <a:gd name="connsiteX3" fmla="*/ 0 w 5056094"/>
              <a:gd name="connsiteY3" fmla="*/ 7568452 h 7568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056094" h="7568452">
                <a:moveTo>
                  <a:pt x="0" y="0"/>
                </a:moveTo>
                <a:lnTo>
                  <a:pt x="5056094" y="0"/>
                </a:lnTo>
                <a:lnTo>
                  <a:pt x="5056094" y="7568452"/>
                </a:lnTo>
                <a:lnTo>
                  <a:pt x="0" y="7568452"/>
                </a:lnTo>
                <a:close/>
              </a:path>
            </a:pathLst>
          </a:custGeom>
          <a:pattFill prst="pct60">
            <a:fgClr>
              <a:srgbClr val="FFFFFF"/>
            </a:fgClr>
            <a:bgClr>
              <a:srgbClr val="E6E9EE"/>
            </a:bgClr>
          </a:pattFill>
        </p:spPr>
        <p:txBody>
          <a:bodyPr anchor="ctr"/>
          <a:lstStyle>
            <a:lvl1pPr>
              <a:defRPr lang="en-US"/>
            </a:lvl1pPr>
          </a:lstStyle>
          <a:p>
            <a:pPr lvl="0"/>
            <a:endParaRPr lang="en-US"/>
          </a:p>
        </p:txBody>
      </p:sp>
      <p:sp>
        <p:nvSpPr>
          <p:cNvPr id="18" name="Picture Placeholder 17">
            <a:extLst>
              <a:ext uri="{FF2B5EF4-FFF2-40B4-BE49-F238E27FC236}">
                <a16:creationId xmlns:a16="http://schemas.microsoft.com/office/drawing/2014/main" id="{61909BFB-BB38-4018-AAEC-7D2EF2E710CF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4832141" y="1237129"/>
            <a:ext cx="2527718" cy="3784226"/>
          </a:xfrm>
          <a:custGeom>
            <a:avLst/>
            <a:gdLst>
              <a:gd name="connsiteX0" fmla="*/ 0 w 5056094"/>
              <a:gd name="connsiteY0" fmla="*/ 0 h 7568452"/>
              <a:gd name="connsiteX1" fmla="*/ 5056094 w 5056094"/>
              <a:gd name="connsiteY1" fmla="*/ 0 h 7568452"/>
              <a:gd name="connsiteX2" fmla="*/ 5056094 w 5056094"/>
              <a:gd name="connsiteY2" fmla="*/ 7568452 h 7568452"/>
              <a:gd name="connsiteX3" fmla="*/ 0 w 5056094"/>
              <a:gd name="connsiteY3" fmla="*/ 7568452 h 7568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056094" h="7568452">
                <a:moveTo>
                  <a:pt x="0" y="0"/>
                </a:moveTo>
                <a:lnTo>
                  <a:pt x="5056094" y="0"/>
                </a:lnTo>
                <a:lnTo>
                  <a:pt x="5056094" y="7568452"/>
                </a:lnTo>
                <a:lnTo>
                  <a:pt x="0" y="7568452"/>
                </a:lnTo>
                <a:close/>
              </a:path>
            </a:pathLst>
          </a:custGeom>
          <a:pattFill prst="pct60">
            <a:fgClr>
              <a:srgbClr val="FFFFFF"/>
            </a:fgClr>
            <a:bgClr>
              <a:srgbClr val="E6E9EE"/>
            </a:bgClr>
          </a:pattFill>
        </p:spPr>
        <p:txBody>
          <a:bodyPr anchor="ctr"/>
          <a:lstStyle>
            <a:lvl1pPr>
              <a:defRPr lang="en-US"/>
            </a:lvl1pPr>
          </a:lstStyle>
          <a:p>
            <a:pPr lvl="0"/>
            <a:endParaRPr lang="en-US"/>
          </a:p>
        </p:txBody>
      </p:sp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56481C08-79AF-4EEB-B132-E05B8BF1A281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7459252" y="1237129"/>
            <a:ext cx="2527718" cy="3784226"/>
          </a:xfrm>
          <a:custGeom>
            <a:avLst/>
            <a:gdLst>
              <a:gd name="connsiteX0" fmla="*/ 0 w 5056094"/>
              <a:gd name="connsiteY0" fmla="*/ 0 h 7568452"/>
              <a:gd name="connsiteX1" fmla="*/ 5056094 w 5056094"/>
              <a:gd name="connsiteY1" fmla="*/ 0 h 7568452"/>
              <a:gd name="connsiteX2" fmla="*/ 5056094 w 5056094"/>
              <a:gd name="connsiteY2" fmla="*/ 7568452 h 7568452"/>
              <a:gd name="connsiteX3" fmla="*/ 0 w 5056094"/>
              <a:gd name="connsiteY3" fmla="*/ 7568452 h 7568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056094" h="7568452">
                <a:moveTo>
                  <a:pt x="0" y="0"/>
                </a:moveTo>
                <a:lnTo>
                  <a:pt x="5056094" y="0"/>
                </a:lnTo>
                <a:lnTo>
                  <a:pt x="5056094" y="7568452"/>
                </a:lnTo>
                <a:lnTo>
                  <a:pt x="0" y="7568452"/>
                </a:lnTo>
                <a:close/>
              </a:path>
            </a:pathLst>
          </a:custGeom>
          <a:pattFill prst="pct60">
            <a:fgClr>
              <a:srgbClr val="FFFFFF"/>
            </a:fgClr>
            <a:bgClr>
              <a:srgbClr val="E6E9EE"/>
            </a:bgClr>
          </a:pattFill>
        </p:spPr>
        <p:txBody>
          <a:bodyPr anchor="ctr"/>
          <a:lstStyle>
            <a:lvl1pPr>
              <a:defRPr lang="en-US"/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828867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  <p15:guide id="2" pos="7681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4A78B9B9-87C2-4E94-A516-96CFADBE2303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820163" y="1536887"/>
            <a:ext cx="5297451" cy="3784226"/>
          </a:xfrm>
          <a:custGeom>
            <a:avLst/>
            <a:gdLst>
              <a:gd name="connsiteX0" fmla="*/ 0 w 5056094"/>
              <a:gd name="connsiteY0" fmla="*/ 0 h 7568452"/>
              <a:gd name="connsiteX1" fmla="*/ 5056094 w 5056094"/>
              <a:gd name="connsiteY1" fmla="*/ 0 h 7568452"/>
              <a:gd name="connsiteX2" fmla="*/ 5056094 w 5056094"/>
              <a:gd name="connsiteY2" fmla="*/ 7568452 h 7568452"/>
              <a:gd name="connsiteX3" fmla="*/ 0 w 5056094"/>
              <a:gd name="connsiteY3" fmla="*/ 7568452 h 7568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056094" h="7568452">
                <a:moveTo>
                  <a:pt x="0" y="0"/>
                </a:moveTo>
                <a:lnTo>
                  <a:pt x="5056094" y="0"/>
                </a:lnTo>
                <a:lnTo>
                  <a:pt x="5056094" y="7568452"/>
                </a:lnTo>
                <a:lnTo>
                  <a:pt x="0" y="7568452"/>
                </a:lnTo>
                <a:close/>
              </a:path>
            </a:pathLst>
          </a:custGeom>
          <a:pattFill prst="pct60">
            <a:fgClr>
              <a:srgbClr val="FFFFFF"/>
            </a:fgClr>
            <a:bgClr>
              <a:srgbClr val="E6E9EE"/>
            </a:bgClr>
          </a:pattFill>
        </p:spPr>
        <p:txBody>
          <a:bodyPr anchor="ctr"/>
          <a:lstStyle>
            <a:lvl1pPr>
              <a:defRPr lang="en-US"/>
            </a:lvl1pPr>
          </a:lstStyle>
          <a:p>
            <a:pPr lvl="0"/>
            <a:endParaRPr lang="en-US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F629835A-B777-47DB-A9E0-41743E09CD88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6258464" y="1536887"/>
            <a:ext cx="5297451" cy="3784226"/>
          </a:xfrm>
          <a:custGeom>
            <a:avLst/>
            <a:gdLst>
              <a:gd name="connsiteX0" fmla="*/ 0 w 5056094"/>
              <a:gd name="connsiteY0" fmla="*/ 0 h 7568452"/>
              <a:gd name="connsiteX1" fmla="*/ 5056094 w 5056094"/>
              <a:gd name="connsiteY1" fmla="*/ 0 h 7568452"/>
              <a:gd name="connsiteX2" fmla="*/ 5056094 w 5056094"/>
              <a:gd name="connsiteY2" fmla="*/ 7568452 h 7568452"/>
              <a:gd name="connsiteX3" fmla="*/ 0 w 5056094"/>
              <a:gd name="connsiteY3" fmla="*/ 7568452 h 7568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056094" h="7568452">
                <a:moveTo>
                  <a:pt x="0" y="0"/>
                </a:moveTo>
                <a:lnTo>
                  <a:pt x="5056094" y="0"/>
                </a:lnTo>
                <a:lnTo>
                  <a:pt x="5056094" y="7568452"/>
                </a:lnTo>
                <a:lnTo>
                  <a:pt x="0" y="7568452"/>
                </a:lnTo>
                <a:close/>
              </a:path>
            </a:pathLst>
          </a:custGeom>
          <a:pattFill prst="pct60">
            <a:fgClr>
              <a:srgbClr val="FFFFFF"/>
            </a:fgClr>
            <a:bgClr>
              <a:srgbClr val="E6E9EE"/>
            </a:bgClr>
          </a:pattFill>
        </p:spPr>
        <p:txBody>
          <a:bodyPr anchor="ctr"/>
          <a:lstStyle>
            <a:lvl1pPr>
              <a:defRPr lang="en-US"/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538804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  <p15:guide id="2" pos="7801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4A78B9B9-87C2-4E94-A516-96CFADBE2303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470586" y="443753"/>
            <a:ext cx="8812305" cy="5607424"/>
          </a:xfrm>
          <a:custGeom>
            <a:avLst/>
            <a:gdLst>
              <a:gd name="connsiteX0" fmla="*/ 0 w 5056094"/>
              <a:gd name="connsiteY0" fmla="*/ 0 h 7568452"/>
              <a:gd name="connsiteX1" fmla="*/ 5056094 w 5056094"/>
              <a:gd name="connsiteY1" fmla="*/ 0 h 7568452"/>
              <a:gd name="connsiteX2" fmla="*/ 5056094 w 5056094"/>
              <a:gd name="connsiteY2" fmla="*/ 7568452 h 7568452"/>
              <a:gd name="connsiteX3" fmla="*/ 0 w 5056094"/>
              <a:gd name="connsiteY3" fmla="*/ 7568452 h 7568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056094" h="7568452">
                <a:moveTo>
                  <a:pt x="0" y="0"/>
                </a:moveTo>
                <a:lnTo>
                  <a:pt x="5056094" y="0"/>
                </a:lnTo>
                <a:lnTo>
                  <a:pt x="5056094" y="7568452"/>
                </a:lnTo>
                <a:lnTo>
                  <a:pt x="0" y="7568452"/>
                </a:lnTo>
                <a:close/>
              </a:path>
            </a:pathLst>
          </a:custGeom>
          <a:pattFill prst="pct60">
            <a:fgClr>
              <a:srgbClr val="FFFFFF"/>
            </a:fgClr>
            <a:bgClr>
              <a:srgbClr val="E6E9EE"/>
            </a:bgClr>
          </a:pattFill>
        </p:spPr>
        <p:txBody>
          <a:bodyPr anchor="ctr"/>
          <a:lstStyle>
            <a:lvl1pPr>
              <a:defRPr lang="en-US"/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82261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  <p15:guide id="2" pos="7801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1381450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12/10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0526662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7212E27-17FE-4F86-86CB-625F0B6A656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955" y="1588"/>
          <a:ext cx="1954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6" imgW="425" imgH="424" progId="TCLayout.ActiveDocument.1">
                  <p:embed/>
                </p:oleObj>
              </mc:Choice>
              <mc:Fallback>
                <p:oleObj name="think-cell Slide" r:id="rId6" imgW="425" imgH="42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7212E27-17FE-4F86-86CB-625F0B6A65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955" y="1588"/>
                        <a:ext cx="1954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28D6B75-E7B6-4BF6-928E-A1A42232CB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95385" cy="158750"/>
          </a:xfrm>
          <a:prstGeom prst="rect">
            <a:avLst/>
          </a:prstGeom>
          <a:solidFill>
            <a:schemeClr val="accent3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lnSpc>
                <a:spcPct val="90000"/>
              </a:lnSpc>
              <a:spcBef>
                <a:spcPts val="900"/>
              </a:spcBef>
            </a:pPr>
            <a:endParaRPr lang="en-US" sz="2400" b="1" i="0" baseline="0" err="1">
              <a:solidFill>
                <a:schemeClr val="bg1"/>
              </a:solidFill>
              <a:latin typeface="Arial" pitchFamily="34" charset="0"/>
              <a:ea typeface="+mj-ea"/>
              <a:cs typeface="Arial" pitchFamily="34" charset="0"/>
              <a:sym typeface="Arial" panose="020B0604020202020204" pitchFamily="34" charset="0"/>
            </a:endParaRPr>
          </a:p>
        </p:txBody>
      </p:sp>
      <p:sp>
        <p:nvSpPr>
          <p:cNvPr id="5" name="Title Placeholder 2"/>
          <p:cNvSpPr>
            <a:spLocks noGrp="1" noChangeArrowheads="1"/>
          </p:cNvSpPr>
          <p:nvPr>
            <p:ph type="title"/>
            <p:custDataLst>
              <p:tags r:id="rId4"/>
            </p:custDataLst>
          </p:nvPr>
        </p:nvSpPr>
        <p:spPr bwMode="gray">
          <a:xfrm>
            <a:off x="280560" y="237070"/>
            <a:ext cx="11630880" cy="3323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2400"/>
            </a:lvl1pPr>
          </a:lstStyle>
          <a:p>
            <a:pPr lvl="0" algn="l" defTabSz="883444" rtl="0" eaLnBrk="1" fontAlgn="base" hangingPunct="1">
              <a:spcBef>
                <a:spcPct val="0"/>
              </a:spcBef>
              <a:spcAft>
                <a:spcPct val="0"/>
              </a:spcAft>
              <a:buNone/>
              <a:tabLst>
                <a:tab pos="266286" algn="l"/>
              </a:tabLst>
            </a:pPr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57857784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12/10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38430799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12/10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120480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12/10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4303000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12/10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8708946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6"/>
          <p:cNvSpPr>
            <a:spLocks noGrp="1"/>
          </p:cNvSpPr>
          <p:nvPr>
            <p:ph type="pic" sz="quarter" idx="38"/>
          </p:nvPr>
        </p:nvSpPr>
        <p:spPr>
          <a:xfrm>
            <a:off x="47898" y="33384"/>
            <a:ext cx="3684105" cy="3352754"/>
          </a:xfrm>
          <a:prstGeom prst="rect">
            <a:avLst/>
          </a:prstGeom>
          <a:pattFill prst="pct60">
            <a:fgClr>
              <a:srgbClr val="FFFFFF"/>
            </a:fgClr>
            <a:bgClr>
              <a:srgbClr val="E6E9EE"/>
            </a:bgClr>
          </a:pattFill>
        </p:spPr>
        <p:txBody>
          <a:bodyPr/>
          <a:lstStyle>
            <a:lvl1pPr>
              <a:defRPr lang="en-US"/>
            </a:lvl1pPr>
          </a:lstStyle>
          <a:p>
            <a:pPr lvl="0"/>
            <a:endParaRPr lang="en-US"/>
          </a:p>
        </p:txBody>
      </p:sp>
      <p:sp>
        <p:nvSpPr>
          <p:cNvPr id="13" name="Picture Placeholder 6"/>
          <p:cNvSpPr>
            <a:spLocks noGrp="1"/>
          </p:cNvSpPr>
          <p:nvPr>
            <p:ph type="pic" sz="quarter" idx="39"/>
          </p:nvPr>
        </p:nvSpPr>
        <p:spPr>
          <a:xfrm>
            <a:off x="3783356" y="33384"/>
            <a:ext cx="3684105" cy="3352754"/>
          </a:xfrm>
          <a:prstGeom prst="rect">
            <a:avLst/>
          </a:prstGeom>
          <a:pattFill prst="pct60">
            <a:fgClr>
              <a:srgbClr val="FFFFFF"/>
            </a:fgClr>
            <a:bgClr>
              <a:srgbClr val="E6E9EE"/>
            </a:bgClr>
          </a:pattFill>
        </p:spPr>
        <p:txBody>
          <a:bodyPr/>
          <a:lstStyle>
            <a:lvl1pPr>
              <a:defRPr lang="en-US"/>
            </a:lvl1pPr>
          </a:lstStyle>
          <a:p>
            <a:pPr lvl="0"/>
            <a:endParaRPr lang="en-US"/>
          </a:p>
        </p:txBody>
      </p:sp>
      <p:sp>
        <p:nvSpPr>
          <p:cNvPr id="14" name="Picture Placeholder 6"/>
          <p:cNvSpPr>
            <a:spLocks noGrp="1"/>
          </p:cNvSpPr>
          <p:nvPr>
            <p:ph type="pic" sz="quarter" idx="40"/>
          </p:nvPr>
        </p:nvSpPr>
        <p:spPr>
          <a:xfrm>
            <a:off x="3783356" y="3429000"/>
            <a:ext cx="3684105" cy="3384186"/>
          </a:xfrm>
          <a:prstGeom prst="rect">
            <a:avLst/>
          </a:prstGeom>
          <a:pattFill prst="pct60">
            <a:fgClr>
              <a:srgbClr val="FFFFFF"/>
            </a:fgClr>
            <a:bgClr>
              <a:srgbClr val="E6E9EE"/>
            </a:bgClr>
          </a:pattFill>
        </p:spPr>
        <p:txBody>
          <a:bodyPr/>
          <a:lstStyle>
            <a:lvl1pPr>
              <a:defRPr lang="en-US"/>
            </a:lvl1pPr>
          </a:lstStyle>
          <a:p>
            <a:pPr lvl="0"/>
            <a:endParaRPr lang="en-US"/>
          </a:p>
        </p:txBody>
      </p:sp>
      <p:sp>
        <p:nvSpPr>
          <p:cNvPr id="15" name="Picture Placeholder 6"/>
          <p:cNvSpPr>
            <a:spLocks noGrp="1"/>
          </p:cNvSpPr>
          <p:nvPr>
            <p:ph type="pic" sz="quarter" idx="41"/>
          </p:nvPr>
        </p:nvSpPr>
        <p:spPr>
          <a:xfrm>
            <a:off x="47898" y="3429000"/>
            <a:ext cx="3684105" cy="3384186"/>
          </a:xfrm>
          <a:prstGeom prst="rect">
            <a:avLst/>
          </a:prstGeom>
          <a:pattFill prst="pct60">
            <a:fgClr>
              <a:srgbClr val="FFFFFF"/>
            </a:fgClr>
            <a:bgClr>
              <a:srgbClr val="E6E9EE"/>
            </a:bgClr>
          </a:pattFill>
        </p:spPr>
        <p:txBody>
          <a:bodyPr/>
          <a:lstStyle>
            <a:lvl1pPr>
              <a:defRPr lang="en-US"/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6953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12/10/2019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14012666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12/10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805395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12/10/2019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0291144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12/10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1310060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12/10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824467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12/10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90152802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12/10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3252186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ntent with Caption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67020626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E7E01617-EF19-DC4E-A132-EB0DE07BB9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23085"/>
            <a:ext cx="10515600" cy="580806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Block Arc 8">
            <a:extLst>
              <a:ext uri="{FF2B5EF4-FFF2-40B4-BE49-F238E27FC236}">
                <a16:creationId xmlns:a16="http://schemas.microsoft.com/office/drawing/2014/main" id="{C5BF38EF-96F0-E840-9920-CE402EBE9E72}"/>
              </a:ext>
            </a:extLst>
          </p:cNvPr>
          <p:cNvSpPr/>
          <p:nvPr userDrawn="1"/>
        </p:nvSpPr>
        <p:spPr>
          <a:xfrm>
            <a:off x="393701" y="2555644"/>
            <a:ext cx="2578099" cy="2713542"/>
          </a:xfrm>
          <a:prstGeom prst="blockArc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060AA612-243F-E64D-9941-82A45D827B7B}"/>
              </a:ext>
            </a:extLst>
          </p:cNvPr>
          <p:cNvSpPr/>
          <p:nvPr userDrawn="1"/>
        </p:nvSpPr>
        <p:spPr>
          <a:xfrm>
            <a:off x="770733" y="2921000"/>
            <a:ext cx="1826978" cy="1826978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Block Arc 18">
            <a:extLst>
              <a:ext uri="{FF2B5EF4-FFF2-40B4-BE49-F238E27FC236}">
                <a16:creationId xmlns:a16="http://schemas.microsoft.com/office/drawing/2014/main" id="{8956BECE-6ED5-7741-BA2D-98657AD10468}"/>
              </a:ext>
            </a:extLst>
          </p:cNvPr>
          <p:cNvSpPr/>
          <p:nvPr userDrawn="1"/>
        </p:nvSpPr>
        <p:spPr>
          <a:xfrm rot="10800000">
            <a:off x="2597711" y="2555644"/>
            <a:ext cx="2578099" cy="2713542"/>
          </a:xfrm>
          <a:prstGeom prst="blockArc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8889D48E-98B3-D14B-9AFF-17FE3256FB10}"/>
              </a:ext>
            </a:extLst>
          </p:cNvPr>
          <p:cNvSpPr/>
          <p:nvPr userDrawn="1"/>
        </p:nvSpPr>
        <p:spPr>
          <a:xfrm rot="10800000">
            <a:off x="2971800" y="2998926"/>
            <a:ext cx="1826978" cy="1826978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Block Arc 20">
            <a:extLst>
              <a:ext uri="{FF2B5EF4-FFF2-40B4-BE49-F238E27FC236}">
                <a16:creationId xmlns:a16="http://schemas.microsoft.com/office/drawing/2014/main" id="{16FDE7D3-4CF9-5C4E-932B-160E466CBD08}"/>
              </a:ext>
            </a:extLst>
          </p:cNvPr>
          <p:cNvSpPr/>
          <p:nvPr userDrawn="1"/>
        </p:nvSpPr>
        <p:spPr>
          <a:xfrm>
            <a:off x="4798777" y="2555644"/>
            <a:ext cx="2578099" cy="2713542"/>
          </a:xfrm>
          <a:prstGeom prst="blockArc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8EC39EB9-63D8-7C40-99FB-8A086D00EEED}"/>
              </a:ext>
            </a:extLst>
          </p:cNvPr>
          <p:cNvSpPr/>
          <p:nvPr userDrawn="1"/>
        </p:nvSpPr>
        <p:spPr>
          <a:xfrm>
            <a:off x="5175809" y="2921000"/>
            <a:ext cx="1826978" cy="1826978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Block Arc 22">
            <a:extLst>
              <a:ext uri="{FF2B5EF4-FFF2-40B4-BE49-F238E27FC236}">
                <a16:creationId xmlns:a16="http://schemas.microsoft.com/office/drawing/2014/main" id="{C1061FF9-BB40-034C-B2D9-2FAFC3ACA25B}"/>
              </a:ext>
            </a:extLst>
          </p:cNvPr>
          <p:cNvSpPr/>
          <p:nvPr userDrawn="1"/>
        </p:nvSpPr>
        <p:spPr>
          <a:xfrm rot="10800000">
            <a:off x="7002787" y="2555644"/>
            <a:ext cx="2578099" cy="2713542"/>
          </a:xfrm>
          <a:prstGeom prst="blockArc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BA2B2D42-B66A-4F4D-8F16-282A8C69BA08}"/>
              </a:ext>
            </a:extLst>
          </p:cNvPr>
          <p:cNvSpPr/>
          <p:nvPr userDrawn="1"/>
        </p:nvSpPr>
        <p:spPr>
          <a:xfrm rot="10800000">
            <a:off x="7376876" y="2998926"/>
            <a:ext cx="1826978" cy="1826978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Block Arc 24">
            <a:extLst>
              <a:ext uri="{FF2B5EF4-FFF2-40B4-BE49-F238E27FC236}">
                <a16:creationId xmlns:a16="http://schemas.microsoft.com/office/drawing/2014/main" id="{3217943B-9636-4A49-8908-BD3EC7B5B706}"/>
              </a:ext>
            </a:extLst>
          </p:cNvPr>
          <p:cNvSpPr/>
          <p:nvPr userDrawn="1"/>
        </p:nvSpPr>
        <p:spPr>
          <a:xfrm>
            <a:off x="9203853" y="2555644"/>
            <a:ext cx="2578099" cy="2713542"/>
          </a:xfrm>
          <a:prstGeom prst="blockArc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4737DFDB-EAC3-D342-9FD0-235E7E64CE04}"/>
              </a:ext>
            </a:extLst>
          </p:cNvPr>
          <p:cNvSpPr/>
          <p:nvPr userDrawn="1"/>
        </p:nvSpPr>
        <p:spPr>
          <a:xfrm>
            <a:off x="9580885" y="2921000"/>
            <a:ext cx="1826978" cy="1826978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C21EB8AE-A81C-BA4A-AED6-4A281FF778D1}"/>
              </a:ext>
            </a:extLst>
          </p:cNvPr>
          <p:cNvSpPr/>
          <p:nvPr userDrawn="1"/>
        </p:nvSpPr>
        <p:spPr>
          <a:xfrm rot="10800000">
            <a:off x="892234" y="3042502"/>
            <a:ext cx="1583974" cy="1583974"/>
          </a:xfrm>
          <a:prstGeom prst="ellipse">
            <a:avLst/>
          </a:prstGeom>
          <a:solidFill>
            <a:srgbClr val="44536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C975F9A5-4A1D-074F-8D79-53E206A421B4}"/>
              </a:ext>
            </a:extLst>
          </p:cNvPr>
          <p:cNvSpPr/>
          <p:nvPr userDrawn="1"/>
        </p:nvSpPr>
        <p:spPr>
          <a:xfrm rot="10800000">
            <a:off x="1008282" y="3164002"/>
            <a:ext cx="1331505" cy="1331505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D9302536-82FA-7E48-818D-CBFA17DDAEB4}"/>
              </a:ext>
            </a:extLst>
          </p:cNvPr>
          <p:cNvSpPr/>
          <p:nvPr userDrawn="1"/>
        </p:nvSpPr>
        <p:spPr>
          <a:xfrm rot="10800000">
            <a:off x="3093301" y="3120428"/>
            <a:ext cx="1583974" cy="1583974"/>
          </a:xfrm>
          <a:prstGeom prst="ellipse">
            <a:avLst/>
          </a:prstGeom>
          <a:solidFill>
            <a:srgbClr val="ED7D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712A6741-6C21-8C42-9FF1-FE316AD4D19F}"/>
              </a:ext>
            </a:extLst>
          </p:cNvPr>
          <p:cNvSpPr/>
          <p:nvPr userDrawn="1"/>
        </p:nvSpPr>
        <p:spPr>
          <a:xfrm rot="10800000">
            <a:off x="5304013" y="3037767"/>
            <a:ext cx="1583974" cy="1583974"/>
          </a:xfrm>
          <a:prstGeom prst="ellipse">
            <a:avLst/>
          </a:prstGeom>
          <a:solidFill>
            <a:srgbClr val="7C7B7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Oval 36">
            <a:extLst>
              <a:ext uri="{FF2B5EF4-FFF2-40B4-BE49-F238E27FC236}">
                <a16:creationId xmlns:a16="http://schemas.microsoft.com/office/drawing/2014/main" id="{96CC1217-5A9D-6142-8487-0845F6286B14}"/>
              </a:ext>
            </a:extLst>
          </p:cNvPr>
          <p:cNvSpPr/>
          <p:nvPr userDrawn="1"/>
        </p:nvSpPr>
        <p:spPr>
          <a:xfrm rot="10800000">
            <a:off x="7505078" y="3120428"/>
            <a:ext cx="1583974" cy="1583974"/>
          </a:xfrm>
          <a:prstGeom prst="ellipse">
            <a:avLst/>
          </a:prstGeom>
          <a:solidFill>
            <a:srgbClr val="ED7D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Oval 37">
            <a:extLst>
              <a:ext uri="{FF2B5EF4-FFF2-40B4-BE49-F238E27FC236}">
                <a16:creationId xmlns:a16="http://schemas.microsoft.com/office/drawing/2014/main" id="{FDE9CA0B-74AB-354F-A466-2259609683D1}"/>
              </a:ext>
            </a:extLst>
          </p:cNvPr>
          <p:cNvSpPr/>
          <p:nvPr userDrawn="1"/>
        </p:nvSpPr>
        <p:spPr>
          <a:xfrm rot="10800000">
            <a:off x="9695686" y="3037767"/>
            <a:ext cx="1583974" cy="1583974"/>
          </a:xfrm>
          <a:prstGeom prst="ellipse">
            <a:avLst/>
          </a:prstGeom>
          <a:solidFill>
            <a:srgbClr val="44536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Oval 38">
            <a:extLst>
              <a:ext uri="{FF2B5EF4-FFF2-40B4-BE49-F238E27FC236}">
                <a16:creationId xmlns:a16="http://schemas.microsoft.com/office/drawing/2014/main" id="{4C7815C5-D168-2348-A2C8-3340E530FDB1}"/>
              </a:ext>
            </a:extLst>
          </p:cNvPr>
          <p:cNvSpPr/>
          <p:nvPr userDrawn="1"/>
        </p:nvSpPr>
        <p:spPr>
          <a:xfrm rot="10800000">
            <a:off x="3219534" y="3246662"/>
            <a:ext cx="1331505" cy="1331505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Oval 39">
            <a:extLst>
              <a:ext uri="{FF2B5EF4-FFF2-40B4-BE49-F238E27FC236}">
                <a16:creationId xmlns:a16="http://schemas.microsoft.com/office/drawing/2014/main" id="{6A14DF22-4001-0A42-ABFD-1E742DDA9151}"/>
              </a:ext>
            </a:extLst>
          </p:cNvPr>
          <p:cNvSpPr/>
          <p:nvPr userDrawn="1"/>
        </p:nvSpPr>
        <p:spPr>
          <a:xfrm rot="10800000">
            <a:off x="5423546" y="3164000"/>
            <a:ext cx="1331505" cy="1331505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Oval 40">
            <a:extLst>
              <a:ext uri="{FF2B5EF4-FFF2-40B4-BE49-F238E27FC236}">
                <a16:creationId xmlns:a16="http://schemas.microsoft.com/office/drawing/2014/main" id="{2D8A94DD-278D-094D-95C5-52BD411E9D54}"/>
              </a:ext>
            </a:extLst>
          </p:cNvPr>
          <p:cNvSpPr/>
          <p:nvPr userDrawn="1"/>
        </p:nvSpPr>
        <p:spPr>
          <a:xfrm rot="10800000">
            <a:off x="7631122" y="3246661"/>
            <a:ext cx="1331505" cy="1331505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Oval 41">
            <a:extLst>
              <a:ext uri="{FF2B5EF4-FFF2-40B4-BE49-F238E27FC236}">
                <a16:creationId xmlns:a16="http://schemas.microsoft.com/office/drawing/2014/main" id="{37455E0B-CF3D-6B4B-8BCF-44F9698EB4A4}"/>
              </a:ext>
            </a:extLst>
          </p:cNvPr>
          <p:cNvSpPr/>
          <p:nvPr userDrawn="1"/>
        </p:nvSpPr>
        <p:spPr>
          <a:xfrm rot="10800000">
            <a:off x="9819403" y="3163999"/>
            <a:ext cx="1331505" cy="1331505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6BC4089C-7D6C-864F-9121-49CA31A90FE5}"/>
              </a:ext>
            </a:extLst>
          </p:cNvPr>
          <p:cNvSpPr/>
          <p:nvPr userDrawn="1"/>
        </p:nvSpPr>
        <p:spPr>
          <a:xfrm>
            <a:off x="1623709" y="4583449"/>
            <a:ext cx="121024" cy="572058"/>
          </a:xfrm>
          <a:prstGeom prst="rect">
            <a:avLst/>
          </a:prstGeom>
          <a:solidFill>
            <a:srgbClr val="44536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5109E847-574F-494D-8FAE-427F8CAE97CF}"/>
              </a:ext>
            </a:extLst>
          </p:cNvPr>
          <p:cNvSpPr/>
          <p:nvPr userDrawn="1"/>
        </p:nvSpPr>
        <p:spPr>
          <a:xfrm>
            <a:off x="3824774" y="2548369"/>
            <a:ext cx="121024" cy="572058"/>
          </a:xfrm>
          <a:prstGeom prst="rect">
            <a:avLst/>
          </a:prstGeom>
          <a:solidFill>
            <a:srgbClr val="ED7D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99D8C32D-0B0D-DF4A-B371-511B230BD211}"/>
              </a:ext>
            </a:extLst>
          </p:cNvPr>
          <p:cNvSpPr/>
          <p:nvPr userDrawn="1"/>
        </p:nvSpPr>
        <p:spPr>
          <a:xfrm>
            <a:off x="6035487" y="4621738"/>
            <a:ext cx="121024" cy="572058"/>
          </a:xfrm>
          <a:prstGeom prst="rect">
            <a:avLst/>
          </a:prstGeom>
          <a:solidFill>
            <a:srgbClr val="7C7B7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57415378-1541-3E4B-9E62-70FE844DEE7C}"/>
              </a:ext>
            </a:extLst>
          </p:cNvPr>
          <p:cNvSpPr/>
          <p:nvPr userDrawn="1"/>
        </p:nvSpPr>
        <p:spPr>
          <a:xfrm>
            <a:off x="8229853" y="2555644"/>
            <a:ext cx="121024" cy="572058"/>
          </a:xfrm>
          <a:prstGeom prst="rect">
            <a:avLst/>
          </a:prstGeom>
          <a:solidFill>
            <a:srgbClr val="ED7D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54F9DE7B-8949-EB4A-B888-D15EABCF5294}"/>
              </a:ext>
            </a:extLst>
          </p:cNvPr>
          <p:cNvSpPr/>
          <p:nvPr userDrawn="1"/>
        </p:nvSpPr>
        <p:spPr>
          <a:xfrm>
            <a:off x="10427162" y="4621738"/>
            <a:ext cx="121024" cy="572058"/>
          </a:xfrm>
          <a:prstGeom prst="rect">
            <a:avLst/>
          </a:prstGeom>
          <a:solidFill>
            <a:srgbClr val="44536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3" name="Content Placeholder 52">
            <a:extLst>
              <a:ext uri="{FF2B5EF4-FFF2-40B4-BE49-F238E27FC236}">
                <a16:creationId xmlns:a16="http://schemas.microsoft.com/office/drawing/2014/main" id="{CA33E921-0B0C-224C-8C48-CE135C53E9EA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3186063" y="3382913"/>
            <a:ext cx="1360488" cy="131762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7200" b="1">
                <a:solidFill>
                  <a:srgbClr val="ED7D31"/>
                </a:solidFill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</a:lstStyle>
          <a:p>
            <a:pPr lvl="0"/>
            <a:r>
              <a:rPr lang="en-US" sz="7200" b="1" dirty="0"/>
              <a:t>2</a:t>
            </a:r>
            <a:endParaRPr lang="en-US" dirty="0"/>
          </a:p>
        </p:txBody>
      </p:sp>
      <p:sp>
        <p:nvSpPr>
          <p:cNvPr id="54" name="Content Placeholder 52">
            <a:extLst>
              <a:ext uri="{FF2B5EF4-FFF2-40B4-BE49-F238E27FC236}">
                <a16:creationId xmlns:a16="http://schemas.microsoft.com/office/drawing/2014/main" id="{9C158DD2-4D7B-6A4F-8B62-13F838E9D72E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5407582" y="3304113"/>
            <a:ext cx="1360488" cy="131762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7200" b="1">
                <a:solidFill>
                  <a:srgbClr val="7C7B7D"/>
                </a:solidFill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</a:lstStyle>
          <a:p>
            <a:pPr lvl="0"/>
            <a:r>
              <a:rPr lang="en-US" sz="7200" b="1" dirty="0"/>
              <a:t>3</a:t>
            </a:r>
            <a:endParaRPr lang="en-US" dirty="0"/>
          </a:p>
        </p:txBody>
      </p:sp>
      <p:sp>
        <p:nvSpPr>
          <p:cNvPr id="55" name="Content Placeholder 52">
            <a:extLst>
              <a:ext uri="{FF2B5EF4-FFF2-40B4-BE49-F238E27FC236}">
                <a16:creationId xmlns:a16="http://schemas.microsoft.com/office/drawing/2014/main" id="{C2493382-3806-5542-B579-E9926181ABDE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012553" y="3302231"/>
            <a:ext cx="1360488" cy="131762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7200" b="1">
                <a:solidFill>
                  <a:srgbClr val="44536A"/>
                </a:solidFill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</a:lstStyle>
          <a:p>
            <a:pPr lvl="0"/>
            <a:r>
              <a:rPr lang="en-US" sz="7200" b="1" dirty="0"/>
              <a:t>1</a:t>
            </a:r>
            <a:endParaRPr lang="en-US" dirty="0"/>
          </a:p>
        </p:txBody>
      </p:sp>
      <p:sp>
        <p:nvSpPr>
          <p:cNvPr id="56" name="Content Placeholder 52">
            <a:extLst>
              <a:ext uri="{FF2B5EF4-FFF2-40B4-BE49-F238E27FC236}">
                <a16:creationId xmlns:a16="http://schemas.microsoft.com/office/drawing/2014/main" id="{A78F5654-5911-2848-8E46-87D900C62C27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610121" y="3430353"/>
            <a:ext cx="1360488" cy="131762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7200" b="1">
                <a:solidFill>
                  <a:srgbClr val="ED7D31"/>
                </a:solidFill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</a:lstStyle>
          <a:p>
            <a:pPr lvl="0"/>
            <a:r>
              <a:rPr lang="en-US" sz="7200" b="1" dirty="0"/>
              <a:t>4</a:t>
            </a:r>
            <a:endParaRPr lang="en-US" dirty="0"/>
          </a:p>
        </p:txBody>
      </p:sp>
      <p:sp>
        <p:nvSpPr>
          <p:cNvPr id="57" name="Content Placeholder 52">
            <a:extLst>
              <a:ext uri="{FF2B5EF4-FFF2-40B4-BE49-F238E27FC236}">
                <a16:creationId xmlns:a16="http://schemas.microsoft.com/office/drawing/2014/main" id="{B79E60AB-45C3-AE44-8411-D271F991F2F4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9814130" y="3297135"/>
            <a:ext cx="1360488" cy="131762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7200" b="1">
                <a:solidFill>
                  <a:srgbClr val="44536A"/>
                </a:solidFill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</a:lstStyle>
          <a:p>
            <a:pPr lvl="0"/>
            <a:r>
              <a:rPr lang="en-US" sz="7200" b="1" dirty="0"/>
              <a:t>5</a:t>
            </a:r>
            <a:endParaRPr lang="en-US" dirty="0"/>
          </a:p>
        </p:txBody>
      </p:sp>
      <p:sp>
        <p:nvSpPr>
          <p:cNvPr id="58" name="Oval 57">
            <a:extLst>
              <a:ext uri="{FF2B5EF4-FFF2-40B4-BE49-F238E27FC236}">
                <a16:creationId xmlns:a16="http://schemas.microsoft.com/office/drawing/2014/main" id="{CBF621AF-C719-BE47-8E64-EA0C75027FD8}"/>
              </a:ext>
            </a:extLst>
          </p:cNvPr>
          <p:cNvSpPr/>
          <p:nvPr userDrawn="1"/>
        </p:nvSpPr>
        <p:spPr>
          <a:xfrm rot="10800000">
            <a:off x="1526274" y="5120291"/>
            <a:ext cx="312952" cy="312952"/>
          </a:xfrm>
          <a:prstGeom prst="ellipse">
            <a:avLst/>
          </a:prstGeom>
          <a:solidFill>
            <a:srgbClr val="44536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9" name="Oval 58">
            <a:extLst>
              <a:ext uri="{FF2B5EF4-FFF2-40B4-BE49-F238E27FC236}">
                <a16:creationId xmlns:a16="http://schemas.microsoft.com/office/drawing/2014/main" id="{555621BC-6E19-FC48-A5BC-3E5CE2172F30}"/>
              </a:ext>
            </a:extLst>
          </p:cNvPr>
          <p:cNvSpPr/>
          <p:nvPr userDrawn="1"/>
        </p:nvSpPr>
        <p:spPr>
          <a:xfrm rot="10800000">
            <a:off x="3728810" y="2381306"/>
            <a:ext cx="312952" cy="312952"/>
          </a:xfrm>
          <a:prstGeom prst="ellipse">
            <a:avLst/>
          </a:prstGeom>
          <a:solidFill>
            <a:srgbClr val="ED7D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0" name="Oval 59">
            <a:extLst>
              <a:ext uri="{FF2B5EF4-FFF2-40B4-BE49-F238E27FC236}">
                <a16:creationId xmlns:a16="http://schemas.microsoft.com/office/drawing/2014/main" id="{549487CD-5979-724E-AAEF-949D213D7838}"/>
              </a:ext>
            </a:extLst>
          </p:cNvPr>
          <p:cNvSpPr/>
          <p:nvPr userDrawn="1"/>
        </p:nvSpPr>
        <p:spPr>
          <a:xfrm rot="10800000">
            <a:off x="5931350" y="5112710"/>
            <a:ext cx="312952" cy="312952"/>
          </a:xfrm>
          <a:prstGeom prst="ellipse">
            <a:avLst/>
          </a:prstGeom>
          <a:solidFill>
            <a:srgbClr val="7C7B7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Oval 60">
            <a:extLst>
              <a:ext uri="{FF2B5EF4-FFF2-40B4-BE49-F238E27FC236}">
                <a16:creationId xmlns:a16="http://schemas.microsoft.com/office/drawing/2014/main" id="{65E18E7D-655E-894C-B86F-F8E4EAA84B05}"/>
              </a:ext>
            </a:extLst>
          </p:cNvPr>
          <p:cNvSpPr/>
          <p:nvPr userDrawn="1"/>
        </p:nvSpPr>
        <p:spPr>
          <a:xfrm rot="10800000">
            <a:off x="8133886" y="2374356"/>
            <a:ext cx="312952" cy="312952"/>
          </a:xfrm>
          <a:prstGeom prst="ellipse">
            <a:avLst/>
          </a:prstGeom>
          <a:solidFill>
            <a:srgbClr val="ED7D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2" name="Oval 61">
            <a:extLst>
              <a:ext uri="{FF2B5EF4-FFF2-40B4-BE49-F238E27FC236}">
                <a16:creationId xmlns:a16="http://schemas.microsoft.com/office/drawing/2014/main" id="{225ECBA9-4BE6-0B40-97DC-51EEB827044D}"/>
              </a:ext>
            </a:extLst>
          </p:cNvPr>
          <p:cNvSpPr/>
          <p:nvPr userDrawn="1"/>
        </p:nvSpPr>
        <p:spPr>
          <a:xfrm rot="10800000">
            <a:off x="10328679" y="5112710"/>
            <a:ext cx="312952" cy="312952"/>
          </a:xfrm>
          <a:prstGeom prst="ellipse">
            <a:avLst/>
          </a:prstGeom>
          <a:solidFill>
            <a:srgbClr val="44536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4" name="Content Placeholder 63">
            <a:extLst>
              <a:ext uri="{FF2B5EF4-FFF2-40B4-BE49-F238E27FC236}">
                <a16:creationId xmlns:a16="http://schemas.microsoft.com/office/drawing/2014/main" id="{FBE92319-F5F0-424F-8062-F96ABE6F42EC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323865" y="5443524"/>
            <a:ext cx="2700338" cy="11906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/>
                </a:solidFill>
              </a:defRPr>
            </a:lvl2pPr>
            <a:lvl3pPr marL="914400" indent="0">
              <a:buNone/>
              <a:defRPr sz="2000">
                <a:solidFill>
                  <a:schemeClr val="tx1"/>
                </a:solidFill>
              </a:defRPr>
            </a:lvl3pPr>
            <a:lvl4pPr marL="1371600" indent="0">
              <a:buNone/>
              <a:defRPr sz="2000">
                <a:solidFill>
                  <a:schemeClr val="tx1"/>
                </a:solidFill>
              </a:defRPr>
            </a:lvl4pPr>
            <a:lvl5pPr marL="1828800" indent="0">
              <a:buNone/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5" name="Content Placeholder 63">
            <a:extLst>
              <a:ext uri="{FF2B5EF4-FFF2-40B4-BE49-F238E27FC236}">
                <a16:creationId xmlns:a16="http://schemas.microsoft.com/office/drawing/2014/main" id="{91E61772-AA40-884C-A532-81FB71DB2090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2603674" y="1158262"/>
            <a:ext cx="2700338" cy="11906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/>
                </a:solidFill>
              </a:defRPr>
            </a:lvl2pPr>
            <a:lvl3pPr marL="914400" indent="0">
              <a:buNone/>
              <a:defRPr sz="2000">
                <a:solidFill>
                  <a:schemeClr val="tx1"/>
                </a:solidFill>
              </a:defRPr>
            </a:lvl3pPr>
            <a:lvl4pPr marL="1371600" indent="0">
              <a:buNone/>
              <a:defRPr sz="2000">
                <a:solidFill>
                  <a:schemeClr val="tx1"/>
                </a:solidFill>
              </a:defRPr>
            </a:lvl4pPr>
            <a:lvl5pPr marL="1828800" indent="0">
              <a:buNone/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6" name="Content Placeholder 63">
            <a:extLst>
              <a:ext uri="{FF2B5EF4-FFF2-40B4-BE49-F238E27FC236}">
                <a16:creationId xmlns:a16="http://schemas.microsoft.com/office/drawing/2014/main" id="{7963C0BC-0A6F-FD4F-AFE7-A6B018521208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6940193" y="1158262"/>
            <a:ext cx="2700338" cy="11906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/>
                </a:solidFill>
              </a:defRPr>
            </a:lvl2pPr>
            <a:lvl3pPr marL="914400" indent="0">
              <a:buNone/>
              <a:defRPr sz="2000">
                <a:solidFill>
                  <a:schemeClr val="tx1"/>
                </a:solidFill>
              </a:defRPr>
            </a:lvl3pPr>
            <a:lvl4pPr marL="1371600" indent="0">
              <a:buNone/>
              <a:defRPr sz="2000">
                <a:solidFill>
                  <a:schemeClr val="tx1"/>
                </a:solidFill>
              </a:defRPr>
            </a:lvl4pPr>
            <a:lvl5pPr marL="1828800" indent="0">
              <a:buNone/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7" name="Content Placeholder 63">
            <a:extLst>
              <a:ext uri="{FF2B5EF4-FFF2-40B4-BE49-F238E27FC236}">
                <a16:creationId xmlns:a16="http://schemas.microsoft.com/office/drawing/2014/main" id="{15AED734-E88F-F946-8763-9D05E7D69EC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4676538" y="5440825"/>
            <a:ext cx="2700338" cy="11906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/>
                </a:solidFill>
              </a:defRPr>
            </a:lvl2pPr>
            <a:lvl3pPr marL="914400" indent="0">
              <a:buNone/>
              <a:defRPr sz="2000">
                <a:solidFill>
                  <a:schemeClr val="tx1"/>
                </a:solidFill>
              </a:defRPr>
            </a:lvl3pPr>
            <a:lvl4pPr marL="1371600" indent="0">
              <a:buNone/>
              <a:defRPr sz="2000">
                <a:solidFill>
                  <a:schemeClr val="tx1"/>
                </a:solidFill>
              </a:defRPr>
            </a:lvl4pPr>
            <a:lvl5pPr marL="1828800" indent="0">
              <a:buNone/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8" name="Content Placeholder 63">
            <a:extLst>
              <a:ext uri="{FF2B5EF4-FFF2-40B4-BE49-F238E27FC236}">
                <a16:creationId xmlns:a16="http://schemas.microsoft.com/office/drawing/2014/main" id="{DB527739-0298-0B46-84A5-3609CED01245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29211" y="5425937"/>
            <a:ext cx="2700338" cy="11906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/>
                </a:solidFill>
              </a:defRPr>
            </a:lvl2pPr>
            <a:lvl3pPr marL="914400" indent="0">
              <a:buNone/>
              <a:defRPr sz="2000">
                <a:solidFill>
                  <a:schemeClr val="tx1"/>
                </a:solidFill>
              </a:defRPr>
            </a:lvl3pPr>
            <a:lvl4pPr marL="1371600" indent="0">
              <a:buNone/>
              <a:defRPr sz="2000">
                <a:solidFill>
                  <a:schemeClr val="tx1"/>
                </a:solidFill>
              </a:defRPr>
            </a:lvl4pPr>
            <a:lvl5pPr marL="1828800" indent="0">
              <a:buNone/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9" name="Oval 68">
            <a:extLst>
              <a:ext uri="{FF2B5EF4-FFF2-40B4-BE49-F238E27FC236}">
                <a16:creationId xmlns:a16="http://schemas.microsoft.com/office/drawing/2014/main" id="{F71C8F37-1573-EA4D-A74F-D8DAFA8150AC}"/>
              </a:ext>
            </a:extLst>
          </p:cNvPr>
          <p:cNvSpPr/>
          <p:nvPr userDrawn="1"/>
        </p:nvSpPr>
        <p:spPr>
          <a:xfrm rot="10800000" flipV="1">
            <a:off x="1593972" y="5185996"/>
            <a:ext cx="181542" cy="18154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0" name="Oval 69">
            <a:extLst>
              <a:ext uri="{FF2B5EF4-FFF2-40B4-BE49-F238E27FC236}">
                <a16:creationId xmlns:a16="http://schemas.microsoft.com/office/drawing/2014/main" id="{D809D9FA-62A4-424A-BDC3-A487A38C5B6C}"/>
              </a:ext>
            </a:extLst>
          </p:cNvPr>
          <p:cNvSpPr/>
          <p:nvPr userDrawn="1"/>
        </p:nvSpPr>
        <p:spPr>
          <a:xfrm rot="10800000" flipV="1">
            <a:off x="5996702" y="5185996"/>
            <a:ext cx="181542" cy="181542"/>
          </a:xfrm>
          <a:prstGeom prst="ellipse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1" name="Oval 70">
            <a:extLst>
              <a:ext uri="{FF2B5EF4-FFF2-40B4-BE49-F238E27FC236}">
                <a16:creationId xmlns:a16="http://schemas.microsoft.com/office/drawing/2014/main" id="{16B4F832-A5A2-5640-98EC-27F2766AFC93}"/>
              </a:ext>
            </a:extLst>
          </p:cNvPr>
          <p:cNvSpPr/>
          <p:nvPr userDrawn="1"/>
        </p:nvSpPr>
        <p:spPr>
          <a:xfrm rot="10800000" flipV="1">
            <a:off x="10395454" y="5182452"/>
            <a:ext cx="181542" cy="18154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2" name="Oval 71">
            <a:extLst>
              <a:ext uri="{FF2B5EF4-FFF2-40B4-BE49-F238E27FC236}">
                <a16:creationId xmlns:a16="http://schemas.microsoft.com/office/drawing/2014/main" id="{94534D1F-F705-7E4B-9ACE-9AF7C6DF8C1B}"/>
              </a:ext>
            </a:extLst>
          </p:cNvPr>
          <p:cNvSpPr/>
          <p:nvPr userDrawn="1"/>
        </p:nvSpPr>
        <p:spPr>
          <a:xfrm rot="10800000" flipV="1">
            <a:off x="3795674" y="2447011"/>
            <a:ext cx="181542" cy="18154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Oval 72">
            <a:extLst>
              <a:ext uri="{FF2B5EF4-FFF2-40B4-BE49-F238E27FC236}">
                <a16:creationId xmlns:a16="http://schemas.microsoft.com/office/drawing/2014/main" id="{47E93BB6-E572-DC42-AF92-1D70E363D914}"/>
              </a:ext>
            </a:extLst>
          </p:cNvPr>
          <p:cNvSpPr/>
          <p:nvPr userDrawn="1"/>
        </p:nvSpPr>
        <p:spPr>
          <a:xfrm rot="10800000" flipV="1">
            <a:off x="8199591" y="2439404"/>
            <a:ext cx="181542" cy="18154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1560067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4E6891-716D-4C1B-9015-5E050EF62B9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7568750-80CD-4115-8CA5-DBB9AD648B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12/10/2019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2FD9717-8CB2-4AA4-9C40-5E5EB3BD5D6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3BF379A-FFE1-4DBC-94A8-4935C58130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9493228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Picture Placeholder 30">
            <a:extLst>
              <a:ext uri="{FF2B5EF4-FFF2-40B4-BE49-F238E27FC236}">
                <a16:creationId xmlns:a16="http://schemas.microsoft.com/office/drawing/2014/main" id="{D20A1C01-5A8D-4D28-BD2A-5F7CD77A5EE8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3062931" y="0"/>
            <a:ext cx="3003208" cy="3399135"/>
          </a:xfrm>
          <a:custGeom>
            <a:avLst/>
            <a:gdLst>
              <a:gd name="connsiteX0" fmla="*/ 0 w 6007198"/>
              <a:gd name="connsiteY0" fmla="*/ 0 h 6798269"/>
              <a:gd name="connsiteX1" fmla="*/ 6007198 w 6007198"/>
              <a:gd name="connsiteY1" fmla="*/ 0 h 6798269"/>
              <a:gd name="connsiteX2" fmla="*/ 6007198 w 6007198"/>
              <a:gd name="connsiteY2" fmla="*/ 6798269 h 6798269"/>
              <a:gd name="connsiteX3" fmla="*/ 0 w 6007198"/>
              <a:gd name="connsiteY3" fmla="*/ 6798269 h 67982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07198" h="6798269">
                <a:moveTo>
                  <a:pt x="0" y="0"/>
                </a:moveTo>
                <a:lnTo>
                  <a:pt x="6007198" y="0"/>
                </a:lnTo>
                <a:lnTo>
                  <a:pt x="6007198" y="6798269"/>
                </a:lnTo>
                <a:lnTo>
                  <a:pt x="0" y="6798269"/>
                </a:lnTo>
                <a:close/>
              </a:path>
            </a:pathLst>
          </a:custGeom>
          <a:pattFill prst="pct60">
            <a:fgClr>
              <a:srgbClr val="FFFFFF"/>
            </a:fgClr>
            <a:bgClr>
              <a:srgbClr val="E6E9EE"/>
            </a:bgClr>
          </a:pattFill>
        </p:spPr>
        <p:txBody>
          <a:bodyPr anchor="ctr"/>
          <a:lstStyle>
            <a:lvl1pPr>
              <a:defRPr lang="en-US"/>
            </a:lvl1pPr>
          </a:lstStyle>
          <a:p>
            <a:pPr lvl="0"/>
            <a:endParaRPr lang="en-US"/>
          </a:p>
        </p:txBody>
      </p:sp>
      <p:sp>
        <p:nvSpPr>
          <p:cNvPr id="32" name="Picture Placeholder 31">
            <a:extLst>
              <a:ext uri="{FF2B5EF4-FFF2-40B4-BE49-F238E27FC236}">
                <a16:creationId xmlns:a16="http://schemas.microsoft.com/office/drawing/2014/main" id="{AFA33A9A-7C63-48CF-80D3-E8B89809C8F6}"/>
              </a:ext>
            </a:extLst>
          </p:cNvPr>
          <p:cNvSpPr>
            <a:spLocks noGrp="1"/>
          </p:cNvSpPr>
          <p:nvPr>
            <p:ph type="pic" sz="quarter" idx="39"/>
          </p:nvPr>
        </p:nvSpPr>
        <p:spPr>
          <a:xfrm>
            <a:off x="6125861" y="0"/>
            <a:ext cx="3003208" cy="3399135"/>
          </a:xfrm>
          <a:custGeom>
            <a:avLst/>
            <a:gdLst>
              <a:gd name="connsiteX0" fmla="*/ 0 w 6007198"/>
              <a:gd name="connsiteY0" fmla="*/ 0 h 6798269"/>
              <a:gd name="connsiteX1" fmla="*/ 6007198 w 6007198"/>
              <a:gd name="connsiteY1" fmla="*/ 0 h 6798269"/>
              <a:gd name="connsiteX2" fmla="*/ 6007198 w 6007198"/>
              <a:gd name="connsiteY2" fmla="*/ 6798269 h 6798269"/>
              <a:gd name="connsiteX3" fmla="*/ 0 w 6007198"/>
              <a:gd name="connsiteY3" fmla="*/ 6798269 h 67982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07198" h="6798269">
                <a:moveTo>
                  <a:pt x="0" y="0"/>
                </a:moveTo>
                <a:lnTo>
                  <a:pt x="6007198" y="0"/>
                </a:lnTo>
                <a:lnTo>
                  <a:pt x="6007198" y="6798269"/>
                </a:lnTo>
                <a:lnTo>
                  <a:pt x="0" y="6798269"/>
                </a:lnTo>
                <a:close/>
              </a:path>
            </a:pathLst>
          </a:custGeom>
          <a:pattFill prst="pct60">
            <a:fgClr>
              <a:srgbClr val="FFFFFF"/>
            </a:fgClr>
            <a:bgClr>
              <a:srgbClr val="E6E9EE"/>
            </a:bgClr>
          </a:pattFill>
        </p:spPr>
        <p:txBody>
          <a:bodyPr anchor="ctr"/>
          <a:lstStyle>
            <a:lvl1pPr>
              <a:defRPr lang="en-US"/>
            </a:lvl1pPr>
          </a:lstStyle>
          <a:p>
            <a:pPr lvl="0"/>
            <a:endParaRPr lang="en-US"/>
          </a:p>
        </p:txBody>
      </p:sp>
      <p:sp>
        <p:nvSpPr>
          <p:cNvPr id="34" name="Picture Placeholder 33">
            <a:extLst>
              <a:ext uri="{FF2B5EF4-FFF2-40B4-BE49-F238E27FC236}">
                <a16:creationId xmlns:a16="http://schemas.microsoft.com/office/drawing/2014/main" id="{F2BA50BE-6CD6-438C-ABA3-F0CA17693FC6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0" y="3458865"/>
            <a:ext cx="3003208" cy="3399135"/>
          </a:xfrm>
          <a:custGeom>
            <a:avLst/>
            <a:gdLst>
              <a:gd name="connsiteX0" fmla="*/ 0 w 6007198"/>
              <a:gd name="connsiteY0" fmla="*/ 0 h 6798269"/>
              <a:gd name="connsiteX1" fmla="*/ 6007198 w 6007198"/>
              <a:gd name="connsiteY1" fmla="*/ 0 h 6798269"/>
              <a:gd name="connsiteX2" fmla="*/ 6007198 w 6007198"/>
              <a:gd name="connsiteY2" fmla="*/ 6798269 h 6798269"/>
              <a:gd name="connsiteX3" fmla="*/ 0 w 6007198"/>
              <a:gd name="connsiteY3" fmla="*/ 6798269 h 67982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07198" h="6798269">
                <a:moveTo>
                  <a:pt x="0" y="0"/>
                </a:moveTo>
                <a:lnTo>
                  <a:pt x="6007198" y="0"/>
                </a:lnTo>
                <a:lnTo>
                  <a:pt x="6007198" y="6798269"/>
                </a:lnTo>
                <a:lnTo>
                  <a:pt x="0" y="6798269"/>
                </a:lnTo>
                <a:close/>
              </a:path>
            </a:pathLst>
          </a:custGeom>
          <a:pattFill prst="pct60">
            <a:fgClr>
              <a:srgbClr val="FFFFFF"/>
            </a:fgClr>
            <a:bgClr>
              <a:srgbClr val="E6E9EE"/>
            </a:bgClr>
          </a:pattFill>
        </p:spPr>
        <p:txBody>
          <a:bodyPr anchor="ctr"/>
          <a:lstStyle>
            <a:lvl1pPr>
              <a:defRPr lang="en-US"/>
            </a:lvl1pPr>
          </a:lstStyle>
          <a:p>
            <a:pPr lvl="0"/>
            <a:endParaRPr lang="en-US"/>
          </a:p>
        </p:txBody>
      </p:sp>
      <p:sp>
        <p:nvSpPr>
          <p:cNvPr id="35" name="Picture Placeholder 34">
            <a:extLst>
              <a:ext uri="{FF2B5EF4-FFF2-40B4-BE49-F238E27FC236}">
                <a16:creationId xmlns:a16="http://schemas.microsoft.com/office/drawing/2014/main" id="{B1D48CD9-A0E5-4ECB-A530-D4DAC86466F9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3062931" y="3458865"/>
            <a:ext cx="3003208" cy="3399135"/>
          </a:xfrm>
          <a:custGeom>
            <a:avLst/>
            <a:gdLst>
              <a:gd name="connsiteX0" fmla="*/ 0 w 6007198"/>
              <a:gd name="connsiteY0" fmla="*/ 0 h 6798269"/>
              <a:gd name="connsiteX1" fmla="*/ 6007198 w 6007198"/>
              <a:gd name="connsiteY1" fmla="*/ 0 h 6798269"/>
              <a:gd name="connsiteX2" fmla="*/ 6007198 w 6007198"/>
              <a:gd name="connsiteY2" fmla="*/ 6798269 h 6798269"/>
              <a:gd name="connsiteX3" fmla="*/ 0 w 6007198"/>
              <a:gd name="connsiteY3" fmla="*/ 6798269 h 67982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07198" h="6798269">
                <a:moveTo>
                  <a:pt x="0" y="0"/>
                </a:moveTo>
                <a:lnTo>
                  <a:pt x="6007198" y="0"/>
                </a:lnTo>
                <a:lnTo>
                  <a:pt x="6007198" y="6798269"/>
                </a:lnTo>
                <a:lnTo>
                  <a:pt x="0" y="6798269"/>
                </a:lnTo>
                <a:close/>
              </a:path>
            </a:pathLst>
          </a:custGeom>
          <a:pattFill prst="pct60">
            <a:fgClr>
              <a:srgbClr val="FFFFFF"/>
            </a:fgClr>
            <a:bgClr>
              <a:srgbClr val="E6E9EE"/>
            </a:bgClr>
          </a:pattFill>
        </p:spPr>
        <p:txBody>
          <a:bodyPr anchor="ctr"/>
          <a:lstStyle>
            <a:lvl1pPr>
              <a:defRPr lang="en-US"/>
            </a:lvl1pPr>
          </a:lstStyle>
          <a:p>
            <a:pPr lvl="0"/>
            <a:endParaRPr lang="en-US"/>
          </a:p>
        </p:txBody>
      </p:sp>
      <p:sp>
        <p:nvSpPr>
          <p:cNvPr id="33" name="Picture Placeholder 32">
            <a:extLst>
              <a:ext uri="{FF2B5EF4-FFF2-40B4-BE49-F238E27FC236}">
                <a16:creationId xmlns:a16="http://schemas.microsoft.com/office/drawing/2014/main" id="{93736B91-70C5-47D4-915B-F2450F410BD0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9188792" y="0"/>
            <a:ext cx="3003209" cy="3399135"/>
          </a:xfrm>
          <a:custGeom>
            <a:avLst/>
            <a:gdLst>
              <a:gd name="connsiteX0" fmla="*/ 0 w 6007200"/>
              <a:gd name="connsiteY0" fmla="*/ 0 h 6798269"/>
              <a:gd name="connsiteX1" fmla="*/ 6007200 w 6007200"/>
              <a:gd name="connsiteY1" fmla="*/ 0 h 6798269"/>
              <a:gd name="connsiteX2" fmla="*/ 6007200 w 6007200"/>
              <a:gd name="connsiteY2" fmla="*/ 6798269 h 6798269"/>
              <a:gd name="connsiteX3" fmla="*/ 0 w 6007200"/>
              <a:gd name="connsiteY3" fmla="*/ 6798269 h 67982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07200" h="6798269">
                <a:moveTo>
                  <a:pt x="0" y="0"/>
                </a:moveTo>
                <a:lnTo>
                  <a:pt x="6007200" y="0"/>
                </a:lnTo>
                <a:lnTo>
                  <a:pt x="6007200" y="6798269"/>
                </a:lnTo>
                <a:lnTo>
                  <a:pt x="0" y="6798269"/>
                </a:lnTo>
                <a:close/>
              </a:path>
            </a:pathLst>
          </a:custGeom>
          <a:pattFill prst="pct60">
            <a:fgClr>
              <a:srgbClr val="FFFFFF"/>
            </a:fgClr>
            <a:bgClr>
              <a:srgbClr val="E6E9EE"/>
            </a:bgClr>
          </a:pattFill>
        </p:spPr>
        <p:txBody>
          <a:bodyPr anchor="ctr"/>
          <a:lstStyle>
            <a:lvl1pPr>
              <a:defRPr lang="en-US"/>
            </a:lvl1pPr>
          </a:lstStyle>
          <a:p>
            <a:pPr lvl="0"/>
            <a:endParaRPr lang="en-US"/>
          </a:p>
        </p:txBody>
      </p:sp>
      <p:sp>
        <p:nvSpPr>
          <p:cNvPr id="36" name="Picture Placeholder 35">
            <a:extLst>
              <a:ext uri="{FF2B5EF4-FFF2-40B4-BE49-F238E27FC236}">
                <a16:creationId xmlns:a16="http://schemas.microsoft.com/office/drawing/2014/main" id="{1F9A97A3-008B-4DBE-8BA2-2FBF3BDFE4E2}"/>
              </a:ext>
            </a:extLst>
          </p:cNvPr>
          <p:cNvSpPr>
            <a:spLocks noGrp="1"/>
          </p:cNvSpPr>
          <p:nvPr>
            <p:ph type="pic" sz="quarter" idx="43"/>
          </p:nvPr>
        </p:nvSpPr>
        <p:spPr>
          <a:xfrm>
            <a:off x="6125861" y="3458865"/>
            <a:ext cx="3003209" cy="3399135"/>
          </a:xfrm>
          <a:custGeom>
            <a:avLst/>
            <a:gdLst>
              <a:gd name="connsiteX0" fmla="*/ 0 w 6007200"/>
              <a:gd name="connsiteY0" fmla="*/ 0 h 6798269"/>
              <a:gd name="connsiteX1" fmla="*/ 6007200 w 6007200"/>
              <a:gd name="connsiteY1" fmla="*/ 0 h 6798269"/>
              <a:gd name="connsiteX2" fmla="*/ 6007200 w 6007200"/>
              <a:gd name="connsiteY2" fmla="*/ 6798269 h 6798269"/>
              <a:gd name="connsiteX3" fmla="*/ 0 w 6007200"/>
              <a:gd name="connsiteY3" fmla="*/ 6798269 h 67982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07200" h="6798269">
                <a:moveTo>
                  <a:pt x="0" y="0"/>
                </a:moveTo>
                <a:lnTo>
                  <a:pt x="6007200" y="0"/>
                </a:lnTo>
                <a:lnTo>
                  <a:pt x="6007200" y="6798269"/>
                </a:lnTo>
                <a:lnTo>
                  <a:pt x="0" y="6798269"/>
                </a:lnTo>
                <a:close/>
              </a:path>
            </a:pathLst>
          </a:custGeom>
          <a:pattFill prst="pct60">
            <a:fgClr>
              <a:srgbClr val="FFFFFF"/>
            </a:fgClr>
            <a:bgClr>
              <a:srgbClr val="E6E9EE"/>
            </a:bgClr>
          </a:pattFill>
        </p:spPr>
        <p:txBody>
          <a:bodyPr anchor="ctr"/>
          <a:lstStyle>
            <a:lvl1pPr>
              <a:defRPr lang="en-US"/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162525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3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3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3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3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3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12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3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1" grpId="0" animBg="1"/>
      <p:bldP spid="32" grpId="0" animBg="1"/>
      <p:bldP spid="34" grpId="0" animBg="1"/>
      <p:bldP spid="35" grpId="0" animBg="1"/>
      <p:bldP spid="33" grpId="0" animBg="1"/>
      <p:bldP spid="36" grpId="0" animBg="1"/>
    </p:bldLst>
  </p:timing>
  <p:extLst>
    <p:ext uri="{DCECCB84-F9BA-43D5-87BE-67443E8EF086}">
      <p15:sldGuideLst xmlns:p15="http://schemas.microsoft.com/office/powerpoint/2012/main">
        <p15:guide id="4" orient="horz" pos="4320">
          <p15:clr>
            <a:srgbClr val="FBAE40"/>
          </p15:clr>
        </p15:guide>
        <p15:guide id="5" pos="7681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ic Title and Subheading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2"/>
          <p:cNvSpPr>
            <a:spLocks noGrp="1"/>
          </p:cNvSpPr>
          <p:nvPr>
            <p:ph type="body" sz="quarter" idx="20" hasCustomPrompt="1"/>
          </p:nvPr>
        </p:nvSpPr>
        <p:spPr>
          <a:xfrm>
            <a:off x="335558" y="279385"/>
            <a:ext cx="11500843" cy="369887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>
              <a:buNone/>
              <a:defRPr sz="2400" b="1">
                <a:solidFill>
                  <a:schemeClr val="tx1"/>
                </a:solidFill>
              </a:defRPr>
            </a:lvl1pPr>
            <a:lvl2pPr marL="244726" indent="0">
              <a:buNone/>
              <a:defRPr sz="1477"/>
            </a:lvl2pPr>
            <a:lvl3pPr marL="496777" indent="0">
              <a:buNone/>
              <a:defRPr sz="1477"/>
            </a:lvl3pPr>
            <a:lvl4pPr marL="747365" indent="0">
              <a:buNone/>
              <a:defRPr sz="1477"/>
            </a:lvl4pPr>
            <a:lvl5pPr marL="993556" indent="0">
              <a:buNone/>
              <a:defRPr sz="1477"/>
            </a:lvl5pPr>
          </a:lstStyle>
          <a:p>
            <a:pPr lvl="0"/>
            <a:r>
              <a:rPr lang="en-US"/>
              <a:t>Click to edit Chapter nam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334436" y="1115847"/>
            <a:ext cx="9459258" cy="24929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sz="1800" b="0"/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398884407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7212E27-17FE-4F86-86CB-625F0B6A656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955" y="1588"/>
          <a:ext cx="1954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6" imgW="425" imgH="424" progId="TCLayout.ActiveDocument.1">
                  <p:embed/>
                </p:oleObj>
              </mc:Choice>
              <mc:Fallback>
                <p:oleObj name="think-cell Slide" r:id="rId6" imgW="425" imgH="42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7212E27-17FE-4F86-86CB-625F0B6A65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955" y="1588"/>
                        <a:ext cx="1954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28D6B75-E7B6-4BF6-928E-A1A42232CB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95385" cy="158750"/>
          </a:xfrm>
          <a:prstGeom prst="rect">
            <a:avLst/>
          </a:prstGeom>
          <a:solidFill>
            <a:schemeClr val="accent3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lnSpc>
                <a:spcPct val="90000"/>
              </a:lnSpc>
              <a:spcBef>
                <a:spcPts val="900"/>
              </a:spcBef>
            </a:pPr>
            <a:endParaRPr lang="en-US" sz="2400" b="1" i="0" baseline="0" err="1">
              <a:solidFill>
                <a:schemeClr val="bg1"/>
              </a:solidFill>
              <a:latin typeface="Arial" pitchFamily="34" charset="0"/>
              <a:ea typeface="+mj-ea"/>
              <a:cs typeface="Arial" pitchFamily="34" charset="0"/>
              <a:sym typeface="Arial" panose="020B0604020202020204" pitchFamily="34" charset="0"/>
            </a:endParaRPr>
          </a:p>
        </p:txBody>
      </p:sp>
      <p:sp>
        <p:nvSpPr>
          <p:cNvPr id="5" name="Title Placeholder 2"/>
          <p:cNvSpPr>
            <a:spLocks noGrp="1" noChangeArrowheads="1"/>
          </p:cNvSpPr>
          <p:nvPr>
            <p:ph type="title"/>
            <p:custDataLst>
              <p:tags r:id="rId4"/>
            </p:custDataLst>
          </p:nvPr>
        </p:nvSpPr>
        <p:spPr bwMode="gray">
          <a:xfrm>
            <a:off x="280560" y="237070"/>
            <a:ext cx="11630880" cy="3323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2400"/>
            </a:lvl1pPr>
          </a:lstStyle>
          <a:p>
            <a:pPr lvl="0" algn="l" defTabSz="883444" rtl="0" eaLnBrk="1" fontAlgn="base" hangingPunct="1">
              <a:spcBef>
                <a:spcPct val="0"/>
              </a:spcBef>
              <a:spcAft>
                <a:spcPct val="0"/>
              </a:spcAft>
              <a:buNone/>
              <a:tabLst>
                <a:tab pos="266286" algn="l"/>
              </a:tabLst>
            </a:pPr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66008799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White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0" y="3679900"/>
            <a:ext cx="12192000" cy="0"/>
          </a:xfrm>
          <a:prstGeom prst="line">
            <a:avLst/>
          </a:prstGeom>
          <a:ln w="28575">
            <a:solidFill>
              <a:srgbClr val="35477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tle 1"/>
          <p:cNvSpPr>
            <a:spLocks noGrp="1"/>
          </p:cNvSpPr>
          <p:nvPr>
            <p:ph type="ctrTitle" hasCustomPrompt="1"/>
          </p:nvPr>
        </p:nvSpPr>
        <p:spPr>
          <a:xfrm>
            <a:off x="377705" y="3993376"/>
            <a:ext cx="11490822" cy="995327"/>
          </a:xfrm>
          <a:prstGeom prst="rect">
            <a:avLst/>
          </a:prstGeom>
        </p:spPr>
        <p:txBody>
          <a:bodyPr anchor="b" anchorCtr="0">
            <a:normAutofit/>
          </a:bodyPr>
          <a:lstStyle>
            <a:lvl1pPr algn="l">
              <a:defRPr sz="3200" b="1">
                <a:solidFill>
                  <a:schemeClr val="tx1"/>
                </a:solidFill>
              </a:defRPr>
            </a:lvl1pPr>
          </a:lstStyle>
          <a:p>
            <a:r>
              <a:rPr lang="en-US"/>
              <a:t>Name of the presentation</a:t>
            </a:r>
            <a:endParaRPr lang="nl-NL"/>
          </a:p>
        </p:txBody>
      </p:sp>
      <p:sp>
        <p:nvSpPr>
          <p:cNvPr id="1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77705" y="5179566"/>
            <a:ext cx="8906972" cy="443198"/>
          </a:xfrm>
          <a:prstGeom prst="rect">
            <a:avLst/>
          </a:prstGeom>
        </p:spPr>
        <p:txBody>
          <a:bodyPr/>
          <a:lstStyle>
            <a:lvl1pPr marL="0" indent="0" algn="l">
              <a:spcBef>
                <a:spcPts val="0"/>
              </a:spcBef>
              <a:buNone/>
              <a:defRPr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Name</a:t>
            </a:r>
          </a:p>
          <a:p>
            <a:r>
              <a:rPr lang="en-US"/>
              <a:t>Department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092069229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claimer 201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326400" y="2060577"/>
            <a:ext cx="11523134" cy="221599"/>
          </a:xfrm>
        </p:spPr>
        <p:txBody>
          <a:bodyPr/>
          <a:lstStyle>
            <a:lvl1pPr marL="1588" indent="0">
              <a:spcBef>
                <a:spcPts val="1400"/>
              </a:spcBef>
              <a:buNone/>
              <a:defRPr/>
            </a:lvl1pPr>
            <a:lvl2pPr marL="1588" indent="0">
              <a:spcBef>
                <a:spcPts val="1400"/>
              </a:spcBef>
              <a:buNone/>
              <a:defRPr/>
            </a:lvl2pPr>
            <a:lvl3pPr marL="1588" indent="0">
              <a:spcBef>
                <a:spcPts val="1400"/>
              </a:spcBef>
              <a:buNone/>
              <a:defRPr/>
            </a:lvl3pPr>
            <a:lvl4pPr marL="1588" indent="0">
              <a:spcBef>
                <a:spcPts val="1400"/>
              </a:spcBef>
              <a:buNone/>
              <a:defRPr/>
            </a:lvl4pPr>
            <a:lvl5pPr marL="1588" indent="0">
              <a:spcBef>
                <a:spcPts val="1400"/>
              </a:spcBef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60132743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AndText 201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25967" y="1524000"/>
            <a:ext cx="11531600" cy="1338828"/>
          </a:xfrm>
        </p:spPr>
        <p:txBody>
          <a:bodyPr>
            <a:spAutoFit/>
          </a:bodyPr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/>
              <a:t>Text on first level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280560" y="237068"/>
            <a:ext cx="11630880" cy="3877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algn="l" defTabSz="883444" rtl="0" eaLnBrk="1" fontAlgn="base" hangingPunct="1">
              <a:spcBef>
                <a:spcPct val="0"/>
              </a:spcBef>
              <a:spcAft>
                <a:spcPct val="0"/>
              </a:spcAft>
              <a:buNone/>
              <a:tabLst>
                <a:tab pos="266286" algn="l"/>
              </a:tabLst>
            </a:pPr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29648165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Only 201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07FD701-2A96-4FF7-A6B9-81CAF26C7CB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955" y="1588"/>
          <a:ext cx="1954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Slide" r:id="rId5" imgW="425" imgH="424" progId="TCLayout.ActiveDocument.1">
                  <p:embed/>
                </p:oleObj>
              </mc:Choice>
              <mc:Fallback>
                <p:oleObj name="think-cell Slide" r:id="rId5" imgW="425" imgH="42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07FD701-2A96-4FF7-A6B9-81CAF26C7C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955" y="1588"/>
                        <a:ext cx="1954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BD5EFA1-B050-4A7B-ABCA-4885808F9FB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95385" cy="158750"/>
          </a:xfrm>
          <a:prstGeom prst="rect">
            <a:avLst/>
          </a:prstGeom>
          <a:solidFill>
            <a:schemeClr val="accent3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lnSpc>
                <a:spcPct val="90000"/>
              </a:lnSpc>
              <a:spcBef>
                <a:spcPts val="900"/>
              </a:spcBef>
            </a:pPr>
            <a:endParaRPr lang="en-US" sz="2400" b="1" i="0" baseline="0" err="1">
              <a:solidFill>
                <a:schemeClr val="bg1"/>
              </a:solidFill>
              <a:latin typeface="Arial" pitchFamily="34" charset="0"/>
              <a:ea typeface="+mj-ea"/>
              <a:cs typeface="Arial" pitchFamily="34" charset="0"/>
              <a:sym typeface="Arial" panose="020B0604020202020204" pitchFamily="34" charset="0"/>
            </a:endParaRPr>
          </a:p>
        </p:txBody>
      </p:sp>
      <p:sp>
        <p:nvSpPr>
          <p:cNvPr id="3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280560" y="237069"/>
            <a:ext cx="11630880" cy="3323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2400"/>
            </a:lvl1pPr>
          </a:lstStyle>
          <a:p>
            <a:pPr lvl="0" algn="l" defTabSz="883444" rtl="0" eaLnBrk="1" fontAlgn="base" hangingPunct="1">
              <a:spcBef>
                <a:spcPct val="0"/>
              </a:spcBef>
              <a:spcAft>
                <a:spcPct val="0"/>
              </a:spcAft>
              <a:buNone/>
              <a:tabLst>
                <a:tab pos="266286" algn="l"/>
              </a:tabLst>
            </a:pPr>
            <a:r>
              <a:rPr lang="en-US" noProof="0"/>
              <a:t>Click to edit Master title style</a:t>
            </a:r>
          </a:p>
        </p:txBody>
      </p:sp>
      <p:sp>
        <p:nvSpPr>
          <p:cNvPr id="5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326400" y="1066802"/>
            <a:ext cx="7700000" cy="221599"/>
          </a:xfrm>
        </p:spPr>
        <p:txBody>
          <a:bodyPr/>
          <a:lstStyle>
            <a:lvl1pPr marL="1588" indent="0">
              <a:spcBef>
                <a:spcPts val="1400"/>
              </a:spcBef>
              <a:buNone/>
              <a:defRPr sz="1600" b="1"/>
            </a:lvl1pPr>
            <a:lvl2pPr marL="1588" indent="0">
              <a:spcBef>
                <a:spcPts val="1400"/>
              </a:spcBef>
              <a:buNone/>
              <a:defRPr/>
            </a:lvl2pPr>
            <a:lvl3pPr marL="1588" indent="0">
              <a:spcBef>
                <a:spcPts val="1400"/>
              </a:spcBef>
              <a:buNone/>
              <a:defRPr/>
            </a:lvl3pPr>
            <a:lvl4pPr marL="1588" indent="0">
              <a:spcBef>
                <a:spcPts val="1400"/>
              </a:spcBef>
              <a:buNone/>
              <a:defRPr/>
            </a:lvl4pPr>
            <a:lvl5pPr marL="1588" indent="0">
              <a:spcBef>
                <a:spcPts val="1400"/>
              </a:spcBef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86695474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201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26402" y="1627633"/>
            <a:ext cx="11528383" cy="387798"/>
          </a:xfrm>
          <a:prstGeom prst="rect">
            <a:avLst/>
          </a:prstGeom>
          <a:ln>
            <a:noFill/>
          </a:ln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Divider text her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326401" y="2157986"/>
            <a:ext cx="11528468" cy="276999"/>
          </a:xfrm>
          <a:ln>
            <a:noFill/>
          </a:ln>
        </p:spPr>
        <p:txBody>
          <a:bodyPr/>
          <a:lstStyle>
            <a:lvl1pPr marL="346075" indent="-346075">
              <a:buClr>
                <a:schemeClr val="accent1"/>
              </a:buClr>
              <a:buFont typeface="Arial" panose="020B0604020202020204" pitchFamily="34" charset="0"/>
              <a:buChar char="■"/>
              <a:defRPr sz="2000" baseline="0"/>
            </a:lvl1pPr>
            <a:lvl2pPr marL="347472" indent="-182880">
              <a:spcBef>
                <a:spcPts val="600"/>
              </a:spcBef>
              <a:buFont typeface="Arial" pitchFamily="34" charset="0"/>
              <a:buChar char="–"/>
              <a:defRPr sz="2000"/>
            </a:lvl2pPr>
            <a:lvl3pPr marL="484632" indent="-137160">
              <a:spcBef>
                <a:spcPts val="200"/>
              </a:spcBef>
              <a:buFont typeface="Arial" pitchFamily="34" charset="0"/>
              <a:buChar char="-"/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/>
              <a:t>Divider subsections here</a:t>
            </a:r>
          </a:p>
        </p:txBody>
      </p:sp>
    </p:spTree>
    <p:extLst>
      <p:ext uri="{BB962C8B-B14F-4D97-AF65-F5344CB8AC3E}">
        <p14:creationId xmlns:p14="http://schemas.microsoft.com/office/powerpoint/2010/main" val="923817773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Page 201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48992017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ic Title and Subheading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2"/>
          <p:cNvSpPr>
            <a:spLocks noGrp="1"/>
          </p:cNvSpPr>
          <p:nvPr>
            <p:ph type="body" sz="quarter" idx="20" hasCustomPrompt="1"/>
          </p:nvPr>
        </p:nvSpPr>
        <p:spPr>
          <a:xfrm>
            <a:off x="335558" y="279385"/>
            <a:ext cx="11500843" cy="369887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>
              <a:buNone/>
              <a:defRPr sz="2400" b="1">
                <a:solidFill>
                  <a:schemeClr val="tx1"/>
                </a:solidFill>
              </a:defRPr>
            </a:lvl1pPr>
            <a:lvl2pPr marL="244726" indent="0">
              <a:buNone/>
              <a:defRPr sz="1477"/>
            </a:lvl2pPr>
            <a:lvl3pPr marL="496777" indent="0">
              <a:buNone/>
              <a:defRPr sz="1477"/>
            </a:lvl3pPr>
            <a:lvl4pPr marL="747365" indent="0">
              <a:buNone/>
              <a:defRPr sz="1477"/>
            </a:lvl4pPr>
            <a:lvl5pPr marL="993556" indent="0">
              <a:buNone/>
              <a:defRPr sz="1477"/>
            </a:lvl5pPr>
          </a:lstStyle>
          <a:p>
            <a:pPr lvl="0"/>
            <a:r>
              <a:rPr lang="en-US"/>
              <a:t>Click to edit Chapter nam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334436" y="1115847"/>
            <a:ext cx="9459258" cy="24929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sz="1800" b="0"/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875841906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wo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k object 16"/>
          <p:cNvSpPr/>
          <p:nvPr/>
        </p:nvSpPr>
        <p:spPr>
          <a:xfrm>
            <a:off x="196919" y="3352914"/>
            <a:ext cx="2853055" cy="914400"/>
          </a:xfrm>
          <a:custGeom>
            <a:avLst/>
            <a:gdLst/>
            <a:ahLst/>
            <a:cxnLst/>
            <a:rect l="l" t="t" r="r" b="b"/>
            <a:pathLst>
              <a:path w="2853055" h="914400">
                <a:moveTo>
                  <a:pt x="0" y="0"/>
                </a:moveTo>
                <a:lnTo>
                  <a:pt x="2852707" y="0"/>
                </a:lnTo>
                <a:lnTo>
                  <a:pt x="2852707" y="914399"/>
                </a:lnTo>
                <a:lnTo>
                  <a:pt x="0" y="914399"/>
                </a:lnTo>
                <a:lnTo>
                  <a:pt x="0" y="0"/>
                </a:lnTo>
                <a:close/>
              </a:path>
            </a:pathLst>
          </a:custGeom>
          <a:solidFill>
            <a:srgbClr val="4472C4"/>
          </a:solidFill>
        </p:spPr>
        <p:txBody>
          <a:bodyPr wrap="square" lIns="0" tIns="0" rIns="0" bIns="0" rtlCol="0"/>
          <a:lstStyle/>
          <a:p>
            <a:endParaRPr sz="1800"/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122068" y="3719185"/>
            <a:ext cx="11947862" cy="678647"/>
          </a:xfrm>
        </p:spPr>
        <p:txBody>
          <a:bodyPr lIns="0" tIns="0" rIns="0" bIns="0"/>
          <a:lstStyle>
            <a:lvl1pPr>
              <a:defRPr sz="4900" b="0" i="0">
                <a:solidFill>
                  <a:schemeClr val="bg1"/>
                </a:solidFill>
                <a:latin typeface="Verdana"/>
                <a:cs typeface="Verdan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609600" y="1577340"/>
            <a:ext cx="5303520" cy="2215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6278880" y="1577340"/>
            <a:ext cx="5303520" cy="2215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2/10/2019</a:t>
            </a:fld>
            <a:endParaRPr lang="en-US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11778779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Picture Placeholder 30">
            <a:extLst>
              <a:ext uri="{FF2B5EF4-FFF2-40B4-BE49-F238E27FC236}">
                <a16:creationId xmlns:a16="http://schemas.microsoft.com/office/drawing/2014/main" id="{D20A1C01-5A8D-4D28-BD2A-5F7CD77A5EE8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3062931" y="0"/>
            <a:ext cx="3003208" cy="3399135"/>
          </a:xfrm>
          <a:custGeom>
            <a:avLst/>
            <a:gdLst>
              <a:gd name="connsiteX0" fmla="*/ 0 w 6007198"/>
              <a:gd name="connsiteY0" fmla="*/ 0 h 6798269"/>
              <a:gd name="connsiteX1" fmla="*/ 6007198 w 6007198"/>
              <a:gd name="connsiteY1" fmla="*/ 0 h 6798269"/>
              <a:gd name="connsiteX2" fmla="*/ 6007198 w 6007198"/>
              <a:gd name="connsiteY2" fmla="*/ 6798269 h 6798269"/>
              <a:gd name="connsiteX3" fmla="*/ 0 w 6007198"/>
              <a:gd name="connsiteY3" fmla="*/ 6798269 h 67982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07198" h="6798269">
                <a:moveTo>
                  <a:pt x="0" y="0"/>
                </a:moveTo>
                <a:lnTo>
                  <a:pt x="6007198" y="0"/>
                </a:lnTo>
                <a:lnTo>
                  <a:pt x="6007198" y="6798269"/>
                </a:lnTo>
                <a:lnTo>
                  <a:pt x="0" y="6798269"/>
                </a:lnTo>
                <a:close/>
              </a:path>
            </a:pathLst>
          </a:custGeom>
          <a:pattFill prst="pct60">
            <a:fgClr>
              <a:srgbClr val="FFFFFF"/>
            </a:fgClr>
            <a:bgClr>
              <a:srgbClr val="E6E9EE"/>
            </a:bgClr>
          </a:pattFill>
        </p:spPr>
        <p:txBody>
          <a:bodyPr anchor="ctr"/>
          <a:lstStyle>
            <a:lvl1pPr>
              <a:defRPr lang="en-US"/>
            </a:lvl1pPr>
          </a:lstStyle>
          <a:p>
            <a:pPr lvl="0"/>
            <a:endParaRPr lang="en-US"/>
          </a:p>
        </p:txBody>
      </p:sp>
      <p:sp>
        <p:nvSpPr>
          <p:cNvPr id="32" name="Picture Placeholder 31">
            <a:extLst>
              <a:ext uri="{FF2B5EF4-FFF2-40B4-BE49-F238E27FC236}">
                <a16:creationId xmlns:a16="http://schemas.microsoft.com/office/drawing/2014/main" id="{AFA33A9A-7C63-48CF-80D3-E8B89809C8F6}"/>
              </a:ext>
            </a:extLst>
          </p:cNvPr>
          <p:cNvSpPr>
            <a:spLocks noGrp="1"/>
          </p:cNvSpPr>
          <p:nvPr>
            <p:ph type="pic" sz="quarter" idx="39"/>
          </p:nvPr>
        </p:nvSpPr>
        <p:spPr>
          <a:xfrm>
            <a:off x="6125861" y="0"/>
            <a:ext cx="3003208" cy="3399135"/>
          </a:xfrm>
          <a:custGeom>
            <a:avLst/>
            <a:gdLst>
              <a:gd name="connsiteX0" fmla="*/ 0 w 6007198"/>
              <a:gd name="connsiteY0" fmla="*/ 0 h 6798269"/>
              <a:gd name="connsiteX1" fmla="*/ 6007198 w 6007198"/>
              <a:gd name="connsiteY1" fmla="*/ 0 h 6798269"/>
              <a:gd name="connsiteX2" fmla="*/ 6007198 w 6007198"/>
              <a:gd name="connsiteY2" fmla="*/ 6798269 h 6798269"/>
              <a:gd name="connsiteX3" fmla="*/ 0 w 6007198"/>
              <a:gd name="connsiteY3" fmla="*/ 6798269 h 67982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07198" h="6798269">
                <a:moveTo>
                  <a:pt x="0" y="0"/>
                </a:moveTo>
                <a:lnTo>
                  <a:pt x="6007198" y="0"/>
                </a:lnTo>
                <a:lnTo>
                  <a:pt x="6007198" y="6798269"/>
                </a:lnTo>
                <a:lnTo>
                  <a:pt x="0" y="6798269"/>
                </a:lnTo>
                <a:close/>
              </a:path>
            </a:pathLst>
          </a:custGeom>
          <a:pattFill prst="pct60">
            <a:fgClr>
              <a:srgbClr val="FFFFFF"/>
            </a:fgClr>
            <a:bgClr>
              <a:srgbClr val="E6E9EE"/>
            </a:bgClr>
          </a:pattFill>
        </p:spPr>
        <p:txBody>
          <a:bodyPr anchor="ctr"/>
          <a:lstStyle>
            <a:lvl1pPr>
              <a:defRPr lang="en-US"/>
            </a:lvl1pPr>
          </a:lstStyle>
          <a:p>
            <a:pPr lvl="0"/>
            <a:endParaRPr lang="en-US"/>
          </a:p>
        </p:txBody>
      </p:sp>
      <p:sp>
        <p:nvSpPr>
          <p:cNvPr id="34" name="Picture Placeholder 33">
            <a:extLst>
              <a:ext uri="{FF2B5EF4-FFF2-40B4-BE49-F238E27FC236}">
                <a16:creationId xmlns:a16="http://schemas.microsoft.com/office/drawing/2014/main" id="{F2BA50BE-6CD6-438C-ABA3-F0CA17693FC6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0" y="3458865"/>
            <a:ext cx="3003208" cy="3399135"/>
          </a:xfrm>
          <a:custGeom>
            <a:avLst/>
            <a:gdLst>
              <a:gd name="connsiteX0" fmla="*/ 0 w 6007198"/>
              <a:gd name="connsiteY0" fmla="*/ 0 h 6798269"/>
              <a:gd name="connsiteX1" fmla="*/ 6007198 w 6007198"/>
              <a:gd name="connsiteY1" fmla="*/ 0 h 6798269"/>
              <a:gd name="connsiteX2" fmla="*/ 6007198 w 6007198"/>
              <a:gd name="connsiteY2" fmla="*/ 6798269 h 6798269"/>
              <a:gd name="connsiteX3" fmla="*/ 0 w 6007198"/>
              <a:gd name="connsiteY3" fmla="*/ 6798269 h 67982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07198" h="6798269">
                <a:moveTo>
                  <a:pt x="0" y="0"/>
                </a:moveTo>
                <a:lnTo>
                  <a:pt x="6007198" y="0"/>
                </a:lnTo>
                <a:lnTo>
                  <a:pt x="6007198" y="6798269"/>
                </a:lnTo>
                <a:lnTo>
                  <a:pt x="0" y="6798269"/>
                </a:lnTo>
                <a:close/>
              </a:path>
            </a:pathLst>
          </a:custGeom>
          <a:pattFill prst="pct60">
            <a:fgClr>
              <a:srgbClr val="FFFFFF"/>
            </a:fgClr>
            <a:bgClr>
              <a:srgbClr val="E6E9EE"/>
            </a:bgClr>
          </a:pattFill>
        </p:spPr>
        <p:txBody>
          <a:bodyPr anchor="ctr"/>
          <a:lstStyle>
            <a:lvl1pPr>
              <a:defRPr lang="en-US"/>
            </a:lvl1pPr>
          </a:lstStyle>
          <a:p>
            <a:pPr lvl="0"/>
            <a:endParaRPr lang="en-US"/>
          </a:p>
        </p:txBody>
      </p:sp>
      <p:sp>
        <p:nvSpPr>
          <p:cNvPr id="35" name="Picture Placeholder 34">
            <a:extLst>
              <a:ext uri="{FF2B5EF4-FFF2-40B4-BE49-F238E27FC236}">
                <a16:creationId xmlns:a16="http://schemas.microsoft.com/office/drawing/2014/main" id="{B1D48CD9-A0E5-4ECB-A530-D4DAC86466F9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3062931" y="3458865"/>
            <a:ext cx="3003208" cy="3399135"/>
          </a:xfrm>
          <a:custGeom>
            <a:avLst/>
            <a:gdLst>
              <a:gd name="connsiteX0" fmla="*/ 0 w 6007198"/>
              <a:gd name="connsiteY0" fmla="*/ 0 h 6798269"/>
              <a:gd name="connsiteX1" fmla="*/ 6007198 w 6007198"/>
              <a:gd name="connsiteY1" fmla="*/ 0 h 6798269"/>
              <a:gd name="connsiteX2" fmla="*/ 6007198 w 6007198"/>
              <a:gd name="connsiteY2" fmla="*/ 6798269 h 6798269"/>
              <a:gd name="connsiteX3" fmla="*/ 0 w 6007198"/>
              <a:gd name="connsiteY3" fmla="*/ 6798269 h 67982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07198" h="6798269">
                <a:moveTo>
                  <a:pt x="0" y="0"/>
                </a:moveTo>
                <a:lnTo>
                  <a:pt x="6007198" y="0"/>
                </a:lnTo>
                <a:lnTo>
                  <a:pt x="6007198" y="6798269"/>
                </a:lnTo>
                <a:lnTo>
                  <a:pt x="0" y="6798269"/>
                </a:lnTo>
                <a:close/>
              </a:path>
            </a:pathLst>
          </a:custGeom>
          <a:pattFill prst="pct60">
            <a:fgClr>
              <a:srgbClr val="FFFFFF"/>
            </a:fgClr>
            <a:bgClr>
              <a:srgbClr val="E6E9EE"/>
            </a:bgClr>
          </a:pattFill>
        </p:spPr>
        <p:txBody>
          <a:bodyPr anchor="ctr"/>
          <a:lstStyle>
            <a:lvl1pPr>
              <a:defRPr lang="en-US"/>
            </a:lvl1pPr>
          </a:lstStyle>
          <a:p>
            <a:pPr lvl="0"/>
            <a:endParaRPr lang="en-US"/>
          </a:p>
        </p:txBody>
      </p:sp>
      <p:sp>
        <p:nvSpPr>
          <p:cNvPr id="33" name="Picture Placeholder 32">
            <a:extLst>
              <a:ext uri="{FF2B5EF4-FFF2-40B4-BE49-F238E27FC236}">
                <a16:creationId xmlns:a16="http://schemas.microsoft.com/office/drawing/2014/main" id="{93736B91-70C5-47D4-915B-F2450F410BD0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9188792" y="0"/>
            <a:ext cx="3003209" cy="3399135"/>
          </a:xfrm>
          <a:custGeom>
            <a:avLst/>
            <a:gdLst>
              <a:gd name="connsiteX0" fmla="*/ 0 w 6007200"/>
              <a:gd name="connsiteY0" fmla="*/ 0 h 6798269"/>
              <a:gd name="connsiteX1" fmla="*/ 6007200 w 6007200"/>
              <a:gd name="connsiteY1" fmla="*/ 0 h 6798269"/>
              <a:gd name="connsiteX2" fmla="*/ 6007200 w 6007200"/>
              <a:gd name="connsiteY2" fmla="*/ 6798269 h 6798269"/>
              <a:gd name="connsiteX3" fmla="*/ 0 w 6007200"/>
              <a:gd name="connsiteY3" fmla="*/ 6798269 h 67982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07200" h="6798269">
                <a:moveTo>
                  <a:pt x="0" y="0"/>
                </a:moveTo>
                <a:lnTo>
                  <a:pt x="6007200" y="0"/>
                </a:lnTo>
                <a:lnTo>
                  <a:pt x="6007200" y="6798269"/>
                </a:lnTo>
                <a:lnTo>
                  <a:pt x="0" y="6798269"/>
                </a:lnTo>
                <a:close/>
              </a:path>
            </a:pathLst>
          </a:custGeom>
          <a:pattFill prst="pct60">
            <a:fgClr>
              <a:srgbClr val="FFFFFF"/>
            </a:fgClr>
            <a:bgClr>
              <a:srgbClr val="E6E9EE"/>
            </a:bgClr>
          </a:pattFill>
        </p:spPr>
        <p:txBody>
          <a:bodyPr anchor="ctr"/>
          <a:lstStyle>
            <a:lvl1pPr>
              <a:defRPr lang="en-US"/>
            </a:lvl1pPr>
          </a:lstStyle>
          <a:p>
            <a:pPr lvl="0"/>
            <a:endParaRPr lang="en-US"/>
          </a:p>
        </p:txBody>
      </p:sp>
      <p:sp>
        <p:nvSpPr>
          <p:cNvPr id="36" name="Picture Placeholder 35">
            <a:extLst>
              <a:ext uri="{FF2B5EF4-FFF2-40B4-BE49-F238E27FC236}">
                <a16:creationId xmlns:a16="http://schemas.microsoft.com/office/drawing/2014/main" id="{1F9A97A3-008B-4DBE-8BA2-2FBF3BDFE4E2}"/>
              </a:ext>
            </a:extLst>
          </p:cNvPr>
          <p:cNvSpPr>
            <a:spLocks noGrp="1"/>
          </p:cNvSpPr>
          <p:nvPr>
            <p:ph type="pic" sz="quarter" idx="43"/>
          </p:nvPr>
        </p:nvSpPr>
        <p:spPr>
          <a:xfrm>
            <a:off x="9188792" y="3458865"/>
            <a:ext cx="3003209" cy="3399135"/>
          </a:xfrm>
          <a:custGeom>
            <a:avLst/>
            <a:gdLst>
              <a:gd name="connsiteX0" fmla="*/ 0 w 6007200"/>
              <a:gd name="connsiteY0" fmla="*/ 0 h 6798269"/>
              <a:gd name="connsiteX1" fmla="*/ 6007200 w 6007200"/>
              <a:gd name="connsiteY1" fmla="*/ 0 h 6798269"/>
              <a:gd name="connsiteX2" fmla="*/ 6007200 w 6007200"/>
              <a:gd name="connsiteY2" fmla="*/ 6798269 h 6798269"/>
              <a:gd name="connsiteX3" fmla="*/ 0 w 6007200"/>
              <a:gd name="connsiteY3" fmla="*/ 6798269 h 67982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07200" h="6798269">
                <a:moveTo>
                  <a:pt x="0" y="0"/>
                </a:moveTo>
                <a:lnTo>
                  <a:pt x="6007200" y="0"/>
                </a:lnTo>
                <a:lnTo>
                  <a:pt x="6007200" y="6798269"/>
                </a:lnTo>
                <a:lnTo>
                  <a:pt x="0" y="6798269"/>
                </a:lnTo>
                <a:close/>
              </a:path>
            </a:pathLst>
          </a:custGeom>
          <a:pattFill prst="pct60">
            <a:fgClr>
              <a:srgbClr val="FFFFFF"/>
            </a:fgClr>
            <a:bgClr>
              <a:srgbClr val="E6E9EE"/>
            </a:bgClr>
          </a:pattFill>
        </p:spPr>
        <p:txBody>
          <a:bodyPr anchor="ctr"/>
          <a:lstStyle>
            <a:lvl1pPr>
              <a:defRPr lang="en-US"/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166775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3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3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3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3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3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12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3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1" grpId="0" animBg="1"/>
      <p:bldP spid="32" grpId="0" animBg="1"/>
      <p:bldP spid="34" grpId="0" animBg="1"/>
      <p:bldP spid="35" grpId="0" animBg="1"/>
      <p:bldP spid="33" grpId="0" animBg="1"/>
      <p:bldP spid="36" grpId="0" animBg="1"/>
    </p:bldLst>
  </p:timing>
  <p:extLst>
    <p:ext uri="{DCECCB84-F9BA-43D5-87BE-67443E8EF086}">
      <p15:sldGuideLst xmlns:p15="http://schemas.microsoft.com/office/powerpoint/2012/main">
        <p15:guide id="4" orient="horz" pos="4320">
          <p15:clr>
            <a:srgbClr val="FBAE40"/>
          </p15:clr>
        </p15:guide>
        <p15:guide id="5" pos="7681">
          <p15:clr>
            <a:srgbClr val="FBAE40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122068" y="3719185"/>
            <a:ext cx="11947862" cy="678647"/>
          </a:xfrm>
        </p:spPr>
        <p:txBody>
          <a:bodyPr lIns="0" tIns="0" rIns="0" bIns="0"/>
          <a:lstStyle>
            <a:lvl1pPr>
              <a:defRPr sz="4900" b="0" i="0">
                <a:solidFill>
                  <a:schemeClr val="bg1"/>
                </a:solidFill>
                <a:latin typeface="Verdana"/>
                <a:cs typeface="Verdan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093487195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k object 16"/>
          <p:cNvSpPr/>
          <p:nvPr/>
        </p:nvSpPr>
        <p:spPr>
          <a:xfrm>
            <a:off x="5056188" y="1145311"/>
            <a:ext cx="3541433" cy="3971632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800"/>
          </a:p>
        </p:txBody>
      </p:sp>
      <p:sp>
        <p:nvSpPr>
          <p:cNvPr id="17" name="bk object 17"/>
          <p:cNvSpPr/>
          <p:nvPr/>
        </p:nvSpPr>
        <p:spPr>
          <a:xfrm>
            <a:off x="5041900" y="1131023"/>
            <a:ext cx="3570604" cy="4000500"/>
          </a:xfrm>
          <a:custGeom>
            <a:avLst/>
            <a:gdLst/>
            <a:ahLst/>
            <a:cxnLst/>
            <a:rect l="l" t="t" r="r" b="b"/>
            <a:pathLst>
              <a:path w="3570604" h="4000500">
                <a:moveTo>
                  <a:pt x="0" y="0"/>
                </a:moveTo>
                <a:lnTo>
                  <a:pt x="3569999" y="0"/>
                </a:lnTo>
                <a:lnTo>
                  <a:pt x="3569999" y="4000209"/>
                </a:lnTo>
                <a:lnTo>
                  <a:pt x="0" y="4000209"/>
                </a:lnTo>
                <a:lnTo>
                  <a:pt x="0" y="0"/>
                </a:lnTo>
                <a:close/>
              </a:path>
            </a:pathLst>
          </a:custGeom>
          <a:ln w="28575">
            <a:solidFill>
              <a:srgbClr val="7F7F7F"/>
            </a:solidFill>
          </a:ln>
        </p:spPr>
        <p:txBody>
          <a:bodyPr wrap="square" lIns="0" tIns="0" rIns="0" bIns="0" rtlCol="0"/>
          <a:lstStyle/>
          <a:p>
            <a:endParaRPr sz="1800"/>
          </a:p>
        </p:txBody>
      </p:sp>
      <p:sp>
        <p:nvSpPr>
          <p:cNvPr id="18" name="bk object 18"/>
          <p:cNvSpPr/>
          <p:nvPr/>
        </p:nvSpPr>
        <p:spPr>
          <a:xfrm>
            <a:off x="1514767" y="1145311"/>
            <a:ext cx="3541420" cy="3971632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800"/>
          </a:p>
        </p:txBody>
      </p:sp>
      <p:sp>
        <p:nvSpPr>
          <p:cNvPr id="19" name="bk object 19"/>
          <p:cNvSpPr/>
          <p:nvPr/>
        </p:nvSpPr>
        <p:spPr>
          <a:xfrm>
            <a:off x="1500479" y="1131023"/>
            <a:ext cx="3570604" cy="4000500"/>
          </a:xfrm>
          <a:custGeom>
            <a:avLst/>
            <a:gdLst/>
            <a:ahLst/>
            <a:cxnLst/>
            <a:rect l="l" t="t" r="r" b="b"/>
            <a:pathLst>
              <a:path w="3570604" h="4000500">
                <a:moveTo>
                  <a:pt x="0" y="0"/>
                </a:moveTo>
                <a:lnTo>
                  <a:pt x="3569999" y="0"/>
                </a:lnTo>
                <a:lnTo>
                  <a:pt x="3569999" y="4000209"/>
                </a:lnTo>
                <a:lnTo>
                  <a:pt x="0" y="4000209"/>
                </a:lnTo>
                <a:lnTo>
                  <a:pt x="0" y="0"/>
                </a:lnTo>
                <a:close/>
              </a:path>
            </a:pathLst>
          </a:custGeom>
          <a:ln w="28575">
            <a:solidFill>
              <a:srgbClr val="7F7F7F"/>
            </a:solidFill>
          </a:ln>
        </p:spPr>
        <p:txBody>
          <a:bodyPr wrap="square" lIns="0" tIns="0" rIns="0" bIns="0" rtlCol="0"/>
          <a:lstStyle/>
          <a:p>
            <a:endParaRPr sz="1800"/>
          </a:p>
        </p:txBody>
      </p:sp>
      <p:sp>
        <p:nvSpPr>
          <p:cNvPr id="20" name="bk object 20"/>
          <p:cNvSpPr/>
          <p:nvPr/>
        </p:nvSpPr>
        <p:spPr>
          <a:xfrm>
            <a:off x="1670850" y="1355944"/>
            <a:ext cx="8128000" cy="4572000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800"/>
          </a:p>
        </p:txBody>
      </p:sp>
      <p:sp>
        <p:nvSpPr>
          <p:cNvPr id="21" name="bk object 21"/>
          <p:cNvSpPr/>
          <p:nvPr/>
        </p:nvSpPr>
        <p:spPr>
          <a:xfrm>
            <a:off x="1651800" y="1336891"/>
            <a:ext cx="8166100" cy="4610100"/>
          </a:xfrm>
          <a:custGeom>
            <a:avLst/>
            <a:gdLst/>
            <a:ahLst/>
            <a:cxnLst/>
            <a:rect l="l" t="t" r="r" b="b"/>
            <a:pathLst>
              <a:path w="8166100" h="4610100">
                <a:moveTo>
                  <a:pt x="0" y="0"/>
                </a:moveTo>
                <a:lnTo>
                  <a:pt x="8166104" y="0"/>
                </a:lnTo>
                <a:lnTo>
                  <a:pt x="8166104" y="4610102"/>
                </a:lnTo>
                <a:lnTo>
                  <a:pt x="0" y="4610102"/>
                </a:lnTo>
                <a:lnTo>
                  <a:pt x="0" y="0"/>
                </a:lnTo>
                <a:close/>
              </a:path>
            </a:pathLst>
          </a:custGeom>
          <a:ln w="38100">
            <a:solidFill>
              <a:srgbClr val="7F7F7F"/>
            </a:solidFill>
          </a:ln>
        </p:spPr>
        <p:txBody>
          <a:bodyPr wrap="square" lIns="0" tIns="0" rIns="0" bIns="0" rtlCol="0"/>
          <a:lstStyle/>
          <a:p>
            <a:endParaRPr sz="1800"/>
          </a:p>
        </p:txBody>
      </p:sp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223881" y="169710"/>
            <a:ext cx="11744238" cy="3877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828800" y="3840481"/>
            <a:ext cx="8534400" cy="2215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2/10/2019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590005550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0560" y="195519"/>
            <a:ext cx="11630880" cy="360099"/>
          </a:xfrm>
        </p:spPr>
        <p:txBody>
          <a:bodyPr anchor="ctr"/>
          <a:lstStyle>
            <a:lvl1pPr>
              <a:defRPr sz="2600" cap="all" baseline="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20852966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E1A8DE3-35DF-8342-9CE6-334EB826407A}" type="datetimeFigureOut">
              <a:rPr lang="en-US" smtClean="0"/>
              <a:t>12/10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A3E91B-CC78-8647-ACE1-4C88AB7F753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9389952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Picture Placeholder 83">
            <a:extLst>
              <a:ext uri="{FF2B5EF4-FFF2-40B4-BE49-F238E27FC236}">
                <a16:creationId xmlns:a16="http://schemas.microsoft.com/office/drawing/2014/main" id="{547F1D62-536A-4F79-8D37-91A6FFCF8770}"/>
              </a:ext>
            </a:extLst>
          </p:cNvPr>
          <p:cNvSpPr>
            <a:spLocks noGrp="1"/>
          </p:cNvSpPr>
          <p:nvPr>
            <p:ph type="pic" sz="quarter" idx="39"/>
          </p:nvPr>
        </p:nvSpPr>
        <p:spPr>
          <a:xfrm>
            <a:off x="2441258" y="0"/>
            <a:ext cx="2426971" cy="2274570"/>
          </a:xfrm>
          <a:custGeom>
            <a:avLst/>
            <a:gdLst>
              <a:gd name="connsiteX0" fmla="*/ 0 w 4854575"/>
              <a:gd name="connsiteY0" fmla="*/ 0 h 4549140"/>
              <a:gd name="connsiteX1" fmla="*/ 4854575 w 4854575"/>
              <a:gd name="connsiteY1" fmla="*/ 0 h 4549140"/>
              <a:gd name="connsiteX2" fmla="*/ 4854575 w 4854575"/>
              <a:gd name="connsiteY2" fmla="*/ 4549140 h 4549140"/>
              <a:gd name="connsiteX3" fmla="*/ 0 w 4854575"/>
              <a:gd name="connsiteY3" fmla="*/ 4549140 h 4549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854575" h="4549140">
                <a:moveTo>
                  <a:pt x="0" y="0"/>
                </a:moveTo>
                <a:lnTo>
                  <a:pt x="4854575" y="0"/>
                </a:lnTo>
                <a:lnTo>
                  <a:pt x="4854575" y="4549140"/>
                </a:lnTo>
                <a:lnTo>
                  <a:pt x="0" y="4549140"/>
                </a:lnTo>
                <a:close/>
              </a:path>
            </a:pathLst>
          </a:custGeom>
          <a:pattFill prst="pct60">
            <a:fgClr>
              <a:srgbClr val="FFFFFF"/>
            </a:fgClr>
            <a:bgClr>
              <a:srgbClr val="E6E9EE"/>
            </a:bgClr>
          </a:pattFill>
        </p:spPr>
        <p:txBody>
          <a:bodyPr anchor="ctr"/>
          <a:lstStyle>
            <a:lvl1pPr>
              <a:defRPr lang="en-US"/>
            </a:lvl1pPr>
          </a:lstStyle>
          <a:p>
            <a:pPr lvl="0"/>
            <a:endParaRPr lang="en-US"/>
          </a:p>
        </p:txBody>
      </p:sp>
      <p:sp>
        <p:nvSpPr>
          <p:cNvPr id="85" name="Picture Placeholder 84">
            <a:extLst>
              <a:ext uri="{FF2B5EF4-FFF2-40B4-BE49-F238E27FC236}">
                <a16:creationId xmlns:a16="http://schemas.microsoft.com/office/drawing/2014/main" id="{9E499711-1E7E-4D76-9F28-10113A27F8BC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4882515" y="0"/>
            <a:ext cx="2426971" cy="2274570"/>
          </a:xfrm>
          <a:custGeom>
            <a:avLst/>
            <a:gdLst>
              <a:gd name="connsiteX0" fmla="*/ 0 w 4854575"/>
              <a:gd name="connsiteY0" fmla="*/ 0 h 4549140"/>
              <a:gd name="connsiteX1" fmla="*/ 4854575 w 4854575"/>
              <a:gd name="connsiteY1" fmla="*/ 0 h 4549140"/>
              <a:gd name="connsiteX2" fmla="*/ 4854575 w 4854575"/>
              <a:gd name="connsiteY2" fmla="*/ 4549140 h 4549140"/>
              <a:gd name="connsiteX3" fmla="*/ 0 w 4854575"/>
              <a:gd name="connsiteY3" fmla="*/ 4549140 h 4549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854575" h="4549140">
                <a:moveTo>
                  <a:pt x="0" y="0"/>
                </a:moveTo>
                <a:lnTo>
                  <a:pt x="4854575" y="0"/>
                </a:lnTo>
                <a:lnTo>
                  <a:pt x="4854575" y="4549140"/>
                </a:lnTo>
                <a:lnTo>
                  <a:pt x="0" y="4549140"/>
                </a:lnTo>
                <a:close/>
              </a:path>
            </a:pathLst>
          </a:custGeom>
          <a:pattFill prst="pct60">
            <a:fgClr>
              <a:srgbClr val="FFFFFF"/>
            </a:fgClr>
            <a:bgClr>
              <a:srgbClr val="E6E9EE"/>
            </a:bgClr>
          </a:pattFill>
        </p:spPr>
        <p:txBody>
          <a:bodyPr anchor="ctr"/>
          <a:lstStyle>
            <a:lvl1pPr>
              <a:defRPr lang="en-US"/>
            </a:lvl1pPr>
          </a:lstStyle>
          <a:p>
            <a:pPr lvl="0"/>
            <a:endParaRPr lang="en-US"/>
          </a:p>
        </p:txBody>
      </p:sp>
      <p:sp>
        <p:nvSpPr>
          <p:cNvPr id="86" name="Picture Placeholder 85">
            <a:extLst>
              <a:ext uri="{FF2B5EF4-FFF2-40B4-BE49-F238E27FC236}">
                <a16:creationId xmlns:a16="http://schemas.microsoft.com/office/drawing/2014/main" id="{85C28D07-CED7-44E6-9820-1F617E6405BA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7323771" y="0"/>
            <a:ext cx="2426971" cy="2274570"/>
          </a:xfrm>
          <a:custGeom>
            <a:avLst/>
            <a:gdLst>
              <a:gd name="connsiteX0" fmla="*/ 0 w 4854574"/>
              <a:gd name="connsiteY0" fmla="*/ 0 h 4549140"/>
              <a:gd name="connsiteX1" fmla="*/ 4854574 w 4854574"/>
              <a:gd name="connsiteY1" fmla="*/ 0 h 4549140"/>
              <a:gd name="connsiteX2" fmla="*/ 4854574 w 4854574"/>
              <a:gd name="connsiteY2" fmla="*/ 4549140 h 4549140"/>
              <a:gd name="connsiteX3" fmla="*/ 0 w 4854574"/>
              <a:gd name="connsiteY3" fmla="*/ 4549140 h 4549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854574" h="4549140">
                <a:moveTo>
                  <a:pt x="0" y="0"/>
                </a:moveTo>
                <a:lnTo>
                  <a:pt x="4854574" y="0"/>
                </a:lnTo>
                <a:lnTo>
                  <a:pt x="4854574" y="4549140"/>
                </a:lnTo>
                <a:lnTo>
                  <a:pt x="0" y="4549140"/>
                </a:lnTo>
                <a:close/>
              </a:path>
            </a:pathLst>
          </a:custGeom>
          <a:pattFill prst="pct60">
            <a:fgClr>
              <a:srgbClr val="FFFFFF"/>
            </a:fgClr>
            <a:bgClr>
              <a:srgbClr val="E6E9EE"/>
            </a:bgClr>
          </a:pattFill>
        </p:spPr>
        <p:txBody>
          <a:bodyPr anchor="ctr"/>
          <a:lstStyle>
            <a:lvl1pPr>
              <a:defRPr lang="en-US"/>
            </a:lvl1pPr>
          </a:lstStyle>
          <a:p>
            <a:pPr lvl="0"/>
            <a:endParaRPr lang="en-US"/>
          </a:p>
        </p:txBody>
      </p:sp>
      <p:sp>
        <p:nvSpPr>
          <p:cNvPr id="87" name="Picture Placeholder 86">
            <a:extLst>
              <a:ext uri="{FF2B5EF4-FFF2-40B4-BE49-F238E27FC236}">
                <a16:creationId xmlns:a16="http://schemas.microsoft.com/office/drawing/2014/main" id="{B81C2D65-5E82-4B96-BA73-1459034AA4EF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9765028" y="0"/>
            <a:ext cx="2426972" cy="2274570"/>
          </a:xfrm>
          <a:custGeom>
            <a:avLst/>
            <a:gdLst>
              <a:gd name="connsiteX0" fmla="*/ 0 w 4854576"/>
              <a:gd name="connsiteY0" fmla="*/ 0 h 4549140"/>
              <a:gd name="connsiteX1" fmla="*/ 4854576 w 4854576"/>
              <a:gd name="connsiteY1" fmla="*/ 0 h 4549140"/>
              <a:gd name="connsiteX2" fmla="*/ 4854576 w 4854576"/>
              <a:gd name="connsiteY2" fmla="*/ 4549140 h 4549140"/>
              <a:gd name="connsiteX3" fmla="*/ 0 w 4854576"/>
              <a:gd name="connsiteY3" fmla="*/ 4549140 h 4549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854576" h="4549140">
                <a:moveTo>
                  <a:pt x="0" y="0"/>
                </a:moveTo>
                <a:lnTo>
                  <a:pt x="4854576" y="0"/>
                </a:lnTo>
                <a:lnTo>
                  <a:pt x="4854576" y="4549140"/>
                </a:lnTo>
                <a:lnTo>
                  <a:pt x="0" y="4549140"/>
                </a:lnTo>
                <a:close/>
              </a:path>
            </a:pathLst>
          </a:custGeom>
          <a:pattFill prst="pct60">
            <a:fgClr>
              <a:srgbClr val="FFFFFF"/>
            </a:fgClr>
            <a:bgClr>
              <a:srgbClr val="E6E9EE"/>
            </a:bgClr>
          </a:pattFill>
        </p:spPr>
        <p:txBody>
          <a:bodyPr anchor="ctr"/>
          <a:lstStyle>
            <a:lvl1pPr>
              <a:defRPr lang="en-US"/>
            </a:lvl1pPr>
          </a:lstStyle>
          <a:p>
            <a:pPr lvl="0"/>
            <a:endParaRPr lang="en-US"/>
          </a:p>
        </p:txBody>
      </p:sp>
      <p:sp>
        <p:nvSpPr>
          <p:cNvPr id="88" name="Picture Placeholder 87">
            <a:extLst>
              <a:ext uri="{FF2B5EF4-FFF2-40B4-BE49-F238E27FC236}">
                <a16:creationId xmlns:a16="http://schemas.microsoft.com/office/drawing/2014/main" id="{F5C9B4A2-BD4C-4613-B1C8-426246442952}"/>
              </a:ext>
            </a:extLst>
          </p:cNvPr>
          <p:cNvSpPr>
            <a:spLocks noGrp="1"/>
          </p:cNvSpPr>
          <p:nvPr>
            <p:ph type="pic" sz="quarter" idx="43"/>
          </p:nvPr>
        </p:nvSpPr>
        <p:spPr>
          <a:xfrm>
            <a:off x="0" y="2291715"/>
            <a:ext cx="2426971" cy="2274570"/>
          </a:xfrm>
          <a:custGeom>
            <a:avLst/>
            <a:gdLst>
              <a:gd name="connsiteX0" fmla="*/ 0 w 4854575"/>
              <a:gd name="connsiteY0" fmla="*/ 0 h 4549140"/>
              <a:gd name="connsiteX1" fmla="*/ 4854575 w 4854575"/>
              <a:gd name="connsiteY1" fmla="*/ 0 h 4549140"/>
              <a:gd name="connsiteX2" fmla="*/ 4854575 w 4854575"/>
              <a:gd name="connsiteY2" fmla="*/ 4549140 h 4549140"/>
              <a:gd name="connsiteX3" fmla="*/ 0 w 4854575"/>
              <a:gd name="connsiteY3" fmla="*/ 4549140 h 4549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854575" h="4549140">
                <a:moveTo>
                  <a:pt x="0" y="0"/>
                </a:moveTo>
                <a:lnTo>
                  <a:pt x="4854575" y="0"/>
                </a:lnTo>
                <a:lnTo>
                  <a:pt x="4854575" y="4549140"/>
                </a:lnTo>
                <a:lnTo>
                  <a:pt x="0" y="4549140"/>
                </a:lnTo>
                <a:close/>
              </a:path>
            </a:pathLst>
          </a:custGeom>
          <a:pattFill prst="pct60">
            <a:fgClr>
              <a:srgbClr val="FFFFFF"/>
            </a:fgClr>
            <a:bgClr>
              <a:srgbClr val="E6E9EE"/>
            </a:bgClr>
          </a:pattFill>
        </p:spPr>
        <p:txBody>
          <a:bodyPr anchor="ctr"/>
          <a:lstStyle>
            <a:lvl1pPr>
              <a:defRPr lang="en-US"/>
            </a:lvl1pPr>
          </a:lstStyle>
          <a:p>
            <a:pPr lvl="0"/>
            <a:endParaRPr lang="en-US"/>
          </a:p>
        </p:txBody>
      </p:sp>
      <p:sp>
        <p:nvSpPr>
          <p:cNvPr id="89" name="Picture Placeholder 88">
            <a:extLst>
              <a:ext uri="{FF2B5EF4-FFF2-40B4-BE49-F238E27FC236}">
                <a16:creationId xmlns:a16="http://schemas.microsoft.com/office/drawing/2014/main" id="{C1E587B0-5081-4811-BF09-53C52CD79708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2441258" y="2291715"/>
            <a:ext cx="2426971" cy="2274570"/>
          </a:xfrm>
          <a:custGeom>
            <a:avLst/>
            <a:gdLst>
              <a:gd name="connsiteX0" fmla="*/ 0 w 4854575"/>
              <a:gd name="connsiteY0" fmla="*/ 0 h 4549140"/>
              <a:gd name="connsiteX1" fmla="*/ 4854575 w 4854575"/>
              <a:gd name="connsiteY1" fmla="*/ 0 h 4549140"/>
              <a:gd name="connsiteX2" fmla="*/ 4854575 w 4854575"/>
              <a:gd name="connsiteY2" fmla="*/ 4549140 h 4549140"/>
              <a:gd name="connsiteX3" fmla="*/ 0 w 4854575"/>
              <a:gd name="connsiteY3" fmla="*/ 4549140 h 4549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854575" h="4549140">
                <a:moveTo>
                  <a:pt x="0" y="0"/>
                </a:moveTo>
                <a:lnTo>
                  <a:pt x="4854575" y="0"/>
                </a:lnTo>
                <a:lnTo>
                  <a:pt x="4854575" y="4549140"/>
                </a:lnTo>
                <a:lnTo>
                  <a:pt x="0" y="4549140"/>
                </a:lnTo>
                <a:close/>
              </a:path>
            </a:pathLst>
          </a:custGeom>
          <a:pattFill prst="pct60">
            <a:fgClr>
              <a:srgbClr val="FFFFFF"/>
            </a:fgClr>
            <a:bgClr>
              <a:srgbClr val="E6E9EE"/>
            </a:bgClr>
          </a:pattFill>
        </p:spPr>
        <p:txBody>
          <a:bodyPr anchor="ctr"/>
          <a:lstStyle>
            <a:lvl1pPr>
              <a:defRPr lang="en-US"/>
            </a:lvl1pPr>
          </a:lstStyle>
          <a:p>
            <a:pPr lvl="0"/>
            <a:endParaRPr lang="en-US"/>
          </a:p>
        </p:txBody>
      </p:sp>
      <p:sp>
        <p:nvSpPr>
          <p:cNvPr id="90" name="Picture Placeholder 89">
            <a:extLst>
              <a:ext uri="{FF2B5EF4-FFF2-40B4-BE49-F238E27FC236}">
                <a16:creationId xmlns:a16="http://schemas.microsoft.com/office/drawing/2014/main" id="{848F19B3-C3B8-409D-9B9E-FE0E7C5B97CE}"/>
              </a:ext>
            </a:extLst>
          </p:cNvPr>
          <p:cNvSpPr>
            <a:spLocks noGrp="1"/>
          </p:cNvSpPr>
          <p:nvPr>
            <p:ph type="pic" sz="quarter" idx="45"/>
          </p:nvPr>
        </p:nvSpPr>
        <p:spPr>
          <a:xfrm>
            <a:off x="4882515" y="2291715"/>
            <a:ext cx="2426971" cy="2274570"/>
          </a:xfrm>
          <a:custGeom>
            <a:avLst/>
            <a:gdLst>
              <a:gd name="connsiteX0" fmla="*/ 0 w 4854575"/>
              <a:gd name="connsiteY0" fmla="*/ 0 h 4549140"/>
              <a:gd name="connsiteX1" fmla="*/ 4854575 w 4854575"/>
              <a:gd name="connsiteY1" fmla="*/ 0 h 4549140"/>
              <a:gd name="connsiteX2" fmla="*/ 4854575 w 4854575"/>
              <a:gd name="connsiteY2" fmla="*/ 4549140 h 4549140"/>
              <a:gd name="connsiteX3" fmla="*/ 0 w 4854575"/>
              <a:gd name="connsiteY3" fmla="*/ 4549140 h 4549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854575" h="4549140">
                <a:moveTo>
                  <a:pt x="0" y="0"/>
                </a:moveTo>
                <a:lnTo>
                  <a:pt x="4854575" y="0"/>
                </a:lnTo>
                <a:lnTo>
                  <a:pt x="4854575" y="4549140"/>
                </a:lnTo>
                <a:lnTo>
                  <a:pt x="0" y="4549140"/>
                </a:lnTo>
                <a:close/>
              </a:path>
            </a:pathLst>
          </a:custGeom>
          <a:pattFill prst="pct60">
            <a:fgClr>
              <a:srgbClr val="FFFFFF"/>
            </a:fgClr>
            <a:bgClr>
              <a:srgbClr val="E6E9EE"/>
            </a:bgClr>
          </a:pattFill>
        </p:spPr>
        <p:txBody>
          <a:bodyPr anchor="ctr"/>
          <a:lstStyle>
            <a:lvl1pPr>
              <a:defRPr lang="en-US"/>
            </a:lvl1pPr>
          </a:lstStyle>
          <a:p>
            <a:pPr lvl="0"/>
            <a:endParaRPr lang="en-US"/>
          </a:p>
        </p:txBody>
      </p:sp>
      <p:sp>
        <p:nvSpPr>
          <p:cNvPr id="92" name="Picture Placeholder 91">
            <a:extLst>
              <a:ext uri="{FF2B5EF4-FFF2-40B4-BE49-F238E27FC236}">
                <a16:creationId xmlns:a16="http://schemas.microsoft.com/office/drawing/2014/main" id="{2EF10A99-360C-41AA-821D-107E56A62DDD}"/>
              </a:ext>
            </a:extLst>
          </p:cNvPr>
          <p:cNvSpPr>
            <a:spLocks noGrp="1"/>
          </p:cNvSpPr>
          <p:nvPr>
            <p:ph type="pic" sz="quarter" idx="47"/>
          </p:nvPr>
        </p:nvSpPr>
        <p:spPr>
          <a:xfrm>
            <a:off x="9765028" y="2291715"/>
            <a:ext cx="2426972" cy="2274570"/>
          </a:xfrm>
          <a:custGeom>
            <a:avLst/>
            <a:gdLst>
              <a:gd name="connsiteX0" fmla="*/ 0 w 4854576"/>
              <a:gd name="connsiteY0" fmla="*/ 0 h 4549140"/>
              <a:gd name="connsiteX1" fmla="*/ 4854576 w 4854576"/>
              <a:gd name="connsiteY1" fmla="*/ 0 h 4549140"/>
              <a:gd name="connsiteX2" fmla="*/ 4854576 w 4854576"/>
              <a:gd name="connsiteY2" fmla="*/ 4549140 h 4549140"/>
              <a:gd name="connsiteX3" fmla="*/ 0 w 4854576"/>
              <a:gd name="connsiteY3" fmla="*/ 4549140 h 4549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854576" h="4549140">
                <a:moveTo>
                  <a:pt x="0" y="0"/>
                </a:moveTo>
                <a:lnTo>
                  <a:pt x="4854576" y="0"/>
                </a:lnTo>
                <a:lnTo>
                  <a:pt x="4854576" y="4549140"/>
                </a:lnTo>
                <a:lnTo>
                  <a:pt x="0" y="4549140"/>
                </a:lnTo>
                <a:close/>
              </a:path>
            </a:pathLst>
          </a:custGeom>
          <a:pattFill prst="pct60">
            <a:fgClr>
              <a:srgbClr val="FFFFFF"/>
            </a:fgClr>
            <a:bgClr>
              <a:srgbClr val="E6E9EE"/>
            </a:bgClr>
          </a:pattFill>
        </p:spPr>
        <p:txBody>
          <a:bodyPr anchor="ctr"/>
          <a:lstStyle>
            <a:lvl1pPr>
              <a:defRPr lang="en-US"/>
            </a:lvl1pPr>
          </a:lstStyle>
          <a:p>
            <a:pPr lvl="0"/>
            <a:endParaRPr lang="en-US"/>
          </a:p>
        </p:txBody>
      </p:sp>
      <p:sp>
        <p:nvSpPr>
          <p:cNvPr id="93" name="Picture Placeholder 92">
            <a:extLst>
              <a:ext uri="{FF2B5EF4-FFF2-40B4-BE49-F238E27FC236}">
                <a16:creationId xmlns:a16="http://schemas.microsoft.com/office/drawing/2014/main" id="{F966354A-A564-431F-B7DD-4801994D22FD}"/>
              </a:ext>
            </a:extLst>
          </p:cNvPr>
          <p:cNvSpPr>
            <a:spLocks noGrp="1"/>
          </p:cNvSpPr>
          <p:nvPr>
            <p:ph type="pic" sz="quarter" idx="48"/>
          </p:nvPr>
        </p:nvSpPr>
        <p:spPr>
          <a:xfrm>
            <a:off x="0" y="4583430"/>
            <a:ext cx="2426971" cy="2274570"/>
          </a:xfrm>
          <a:custGeom>
            <a:avLst/>
            <a:gdLst>
              <a:gd name="connsiteX0" fmla="*/ 0 w 4854575"/>
              <a:gd name="connsiteY0" fmla="*/ 0 h 4549140"/>
              <a:gd name="connsiteX1" fmla="*/ 4854575 w 4854575"/>
              <a:gd name="connsiteY1" fmla="*/ 0 h 4549140"/>
              <a:gd name="connsiteX2" fmla="*/ 4854575 w 4854575"/>
              <a:gd name="connsiteY2" fmla="*/ 4549140 h 4549140"/>
              <a:gd name="connsiteX3" fmla="*/ 0 w 4854575"/>
              <a:gd name="connsiteY3" fmla="*/ 4549140 h 4549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854575" h="4549140">
                <a:moveTo>
                  <a:pt x="0" y="0"/>
                </a:moveTo>
                <a:lnTo>
                  <a:pt x="4854575" y="0"/>
                </a:lnTo>
                <a:lnTo>
                  <a:pt x="4854575" y="4549140"/>
                </a:lnTo>
                <a:lnTo>
                  <a:pt x="0" y="4549140"/>
                </a:lnTo>
                <a:close/>
              </a:path>
            </a:pathLst>
          </a:custGeom>
          <a:pattFill prst="pct60">
            <a:fgClr>
              <a:srgbClr val="FFFFFF"/>
            </a:fgClr>
            <a:bgClr>
              <a:srgbClr val="E6E9EE"/>
            </a:bgClr>
          </a:pattFill>
        </p:spPr>
        <p:txBody>
          <a:bodyPr anchor="ctr"/>
          <a:lstStyle>
            <a:lvl1pPr>
              <a:defRPr lang="en-US"/>
            </a:lvl1pPr>
          </a:lstStyle>
          <a:p>
            <a:pPr lvl="0"/>
            <a:endParaRPr lang="en-US"/>
          </a:p>
        </p:txBody>
      </p:sp>
      <p:sp>
        <p:nvSpPr>
          <p:cNvPr id="95" name="Picture Placeholder 94">
            <a:extLst>
              <a:ext uri="{FF2B5EF4-FFF2-40B4-BE49-F238E27FC236}">
                <a16:creationId xmlns:a16="http://schemas.microsoft.com/office/drawing/2014/main" id="{70153A5C-E9DB-46BD-AF67-D5028191A028}"/>
              </a:ext>
            </a:extLst>
          </p:cNvPr>
          <p:cNvSpPr>
            <a:spLocks noGrp="1"/>
          </p:cNvSpPr>
          <p:nvPr>
            <p:ph type="pic" sz="quarter" idx="50"/>
          </p:nvPr>
        </p:nvSpPr>
        <p:spPr>
          <a:xfrm>
            <a:off x="4882515" y="4583430"/>
            <a:ext cx="2426971" cy="2274570"/>
          </a:xfrm>
          <a:custGeom>
            <a:avLst/>
            <a:gdLst>
              <a:gd name="connsiteX0" fmla="*/ 0 w 4854575"/>
              <a:gd name="connsiteY0" fmla="*/ 0 h 4549140"/>
              <a:gd name="connsiteX1" fmla="*/ 4854575 w 4854575"/>
              <a:gd name="connsiteY1" fmla="*/ 0 h 4549140"/>
              <a:gd name="connsiteX2" fmla="*/ 4854575 w 4854575"/>
              <a:gd name="connsiteY2" fmla="*/ 4549140 h 4549140"/>
              <a:gd name="connsiteX3" fmla="*/ 0 w 4854575"/>
              <a:gd name="connsiteY3" fmla="*/ 4549140 h 4549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854575" h="4549140">
                <a:moveTo>
                  <a:pt x="0" y="0"/>
                </a:moveTo>
                <a:lnTo>
                  <a:pt x="4854575" y="0"/>
                </a:lnTo>
                <a:lnTo>
                  <a:pt x="4854575" y="4549140"/>
                </a:lnTo>
                <a:lnTo>
                  <a:pt x="0" y="4549140"/>
                </a:lnTo>
                <a:close/>
              </a:path>
            </a:pathLst>
          </a:custGeom>
          <a:pattFill prst="pct60">
            <a:fgClr>
              <a:srgbClr val="FFFFFF"/>
            </a:fgClr>
            <a:bgClr>
              <a:srgbClr val="E6E9EE"/>
            </a:bgClr>
          </a:pattFill>
        </p:spPr>
        <p:txBody>
          <a:bodyPr anchor="ctr"/>
          <a:lstStyle>
            <a:lvl1pPr>
              <a:defRPr lang="en-US"/>
            </a:lvl1pPr>
          </a:lstStyle>
          <a:p>
            <a:pPr lvl="0"/>
            <a:endParaRPr lang="en-US"/>
          </a:p>
        </p:txBody>
      </p:sp>
      <p:sp>
        <p:nvSpPr>
          <p:cNvPr id="96" name="Picture Placeholder 95">
            <a:extLst>
              <a:ext uri="{FF2B5EF4-FFF2-40B4-BE49-F238E27FC236}">
                <a16:creationId xmlns:a16="http://schemas.microsoft.com/office/drawing/2014/main" id="{F6E16CAF-F7B5-4D3C-A150-056C8546C97D}"/>
              </a:ext>
            </a:extLst>
          </p:cNvPr>
          <p:cNvSpPr>
            <a:spLocks noGrp="1"/>
          </p:cNvSpPr>
          <p:nvPr>
            <p:ph type="pic" sz="quarter" idx="51"/>
          </p:nvPr>
        </p:nvSpPr>
        <p:spPr>
          <a:xfrm>
            <a:off x="7323771" y="4583430"/>
            <a:ext cx="2426971" cy="2274570"/>
          </a:xfrm>
          <a:custGeom>
            <a:avLst/>
            <a:gdLst>
              <a:gd name="connsiteX0" fmla="*/ 0 w 4854574"/>
              <a:gd name="connsiteY0" fmla="*/ 0 h 4549140"/>
              <a:gd name="connsiteX1" fmla="*/ 4854574 w 4854574"/>
              <a:gd name="connsiteY1" fmla="*/ 0 h 4549140"/>
              <a:gd name="connsiteX2" fmla="*/ 4854574 w 4854574"/>
              <a:gd name="connsiteY2" fmla="*/ 4549140 h 4549140"/>
              <a:gd name="connsiteX3" fmla="*/ 0 w 4854574"/>
              <a:gd name="connsiteY3" fmla="*/ 4549140 h 4549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854574" h="4549140">
                <a:moveTo>
                  <a:pt x="0" y="0"/>
                </a:moveTo>
                <a:lnTo>
                  <a:pt x="4854574" y="0"/>
                </a:lnTo>
                <a:lnTo>
                  <a:pt x="4854574" y="4549140"/>
                </a:lnTo>
                <a:lnTo>
                  <a:pt x="0" y="4549140"/>
                </a:lnTo>
                <a:close/>
              </a:path>
            </a:pathLst>
          </a:custGeom>
          <a:pattFill prst="pct60">
            <a:fgClr>
              <a:srgbClr val="FFFFFF"/>
            </a:fgClr>
            <a:bgClr>
              <a:srgbClr val="E6E9EE"/>
            </a:bgClr>
          </a:pattFill>
        </p:spPr>
        <p:txBody>
          <a:bodyPr anchor="ctr"/>
          <a:lstStyle>
            <a:lvl1pPr>
              <a:defRPr lang="en-US"/>
            </a:lvl1pPr>
          </a:lstStyle>
          <a:p>
            <a:pPr lvl="0"/>
            <a:endParaRPr lang="en-US"/>
          </a:p>
        </p:txBody>
      </p:sp>
      <p:sp>
        <p:nvSpPr>
          <p:cNvPr id="97" name="Picture Placeholder 96">
            <a:extLst>
              <a:ext uri="{FF2B5EF4-FFF2-40B4-BE49-F238E27FC236}">
                <a16:creationId xmlns:a16="http://schemas.microsoft.com/office/drawing/2014/main" id="{DEA29BFE-0750-4CED-858B-21CC3D43CF99}"/>
              </a:ext>
            </a:extLst>
          </p:cNvPr>
          <p:cNvSpPr>
            <a:spLocks noGrp="1"/>
          </p:cNvSpPr>
          <p:nvPr>
            <p:ph type="pic" sz="quarter" idx="52"/>
          </p:nvPr>
        </p:nvSpPr>
        <p:spPr>
          <a:xfrm>
            <a:off x="9765028" y="4583430"/>
            <a:ext cx="2426972" cy="2274570"/>
          </a:xfrm>
          <a:custGeom>
            <a:avLst/>
            <a:gdLst>
              <a:gd name="connsiteX0" fmla="*/ 0 w 4854576"/>
              <a:gd name="connsiteY0" fmla="*/ 0 h 4549140"/>
              <a:gd name="connsiteX1" fmla="*/ 4854576 w 4854576"/>
              <a:gd name="connsiteY1" fmla="*/ 0 h 4549140"/>
              <a:gd name="connsiteX2" fmla="*/ 4854576 w 4854576"/>
              <a:gd name="connsiteY2" fmla="*/ 4549140 h 4549140"/>
              <a:gd name="connsiteX3" fmla="*/ 0 w 4854576"/>
              <a:gd name="connsiteY3" fmla="*/ 4549140 h 4549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854576" h="4549140">
                <a:moveTo>
                  <a:pt x="0" y="0"/>
                </a:moveTo>
                <a:lnTo>
                  <a:pt x="4854576" y="0"/>
                </a:lnTo>
                <a:lnTo>
                  <a:pt x="4854576" y="4549140"/>
                </a:lnTo>
                <a:lnTo>
                  <a:pt x="0" y="4549140"/>
                </a:lnTo>
                <a:close/>
              </a:path>
            </a:pathLst>
          </a:custGeom>
          <a:pattFill prst="pct60">
            <a:fgClr>
              <a:srgbClr val="FFFFFF"/>
            </a:fgClr>
            <a:bgClr>
              <a:srgbClr val="E6E9EE"/>
            </a:bgClr>
          </a:pattFill>
        </p:spPr>
        <p:txBody>
          <a:bodyPr anchor="ctr"/>
          <a:lstStyle>
            <a:lvl1pPr>
              <a:defRPr lang="en-US"/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498047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3" presetClass="entr" presetSubtype="28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/3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/3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3" presetClass="entr" presetSubtype="288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8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/3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8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/3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3" presetClass="entr" presetSubtype="288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8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/3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8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/3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3" presetClass="entr" presetSubtype="288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8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/3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8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/3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3" presetClass="entr" presetSubtype="288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9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/3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9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/3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3" presetClass="entr" presetSubtype="288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9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/3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9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/3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3" presetClass="entr" presetSubtype="288" fill="hold" grpId="0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9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/3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9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/3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23" presetClass="entr" presetSubtype="288" fill="hold" grpId="0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5" dur="500" fill="hold"/>
                                        <p:tgtEl>
                                          <p:spTgt spid="9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/3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500" fill="hold"/>
                                        <p:tgtEl>
                                          <p:spTgt spid="9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/3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23" presetClass="entr" presetSubtype="288" fill="hold" grpId="0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8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/3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8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/3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1" presetID="23" presetClass="entr" presetSubtype="288" fill="hold" grpId="0" nodeType="withEffect">
                                  <p:stCondLst>
                                    <p:cond delay="90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3" dur="500" fill="hold"/>
                                        <p:tgtEl>
                                          <p:spTgt spid="8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/3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500" fill="hold"/>
                                        <p:tgtEl>
                                          <p:spTgt spid="8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/3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5" presetID="23" presetClass="entr" presetSubtype="288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7" dur="500" fill="hold"/>
                                        <p:tgtEl>
                                          <p:spTgt spid="8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/3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500" fill="hold"/>
                                        <p:tgtEl>
                                          <p:spTgt spid="8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/3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9" presetID="23" presetClass="entr" presetSubtype="288" fill="hold" grpId="0" nodeType="withEffect">
                                  <p:stCondLst>
                                    <p:cond delay="110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1" dur="500" fill="hold"/>
                                        <p:tgtEl>
                                          <p:spTgt spid="9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/3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2" dur="500" fill="hold"/>
                                        <p:tgtEl>
                                          <p:spTgt spid="9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/3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4" grpId="0" animBg="1"/>
      <p:bldP spid="85" grpId="0" animBg="1"/>
      <p:bldP spid="86" grpId="0" animBg="1"/>
      <p:bldP spid="87" grpId="0" animBg="1"/>
      <p:bldP spid="88" grpId="0" animBg="1"/>
      <p:bldP spid="89" grpId="0" animBg="1"/>
      <p:bldP spid="90" grpId="0" animBg="1"/>
      <p:bldP spid="92" grpId="0" animBg="1"/>
      <p:bldP spid="93" grpId="0" animBg="1"/>
      <p:bldP spid="95" grpId="0" animBg="1"/>
      <p:bldP spid="96" grpId="0" animBg="1"/>
      <p:bldP spid="97" grpId="0" animBg="1"/>
    </p:bldLst>
  </p:timing>
  <p:extLst>
    <p:ext uri="{DCECCB84-F9BA-43D5-87BE-67443E8EF086}">
      <p15:sldGuideLst xmlns:p15="http://schemas.microsoft.com/office/powerpoint/2012/main">
        <p15:guide id="4" orient="horz" pos="4320">
          <p15:clr>
            <a:srgbClr val="FBAE40"/>
          </p15:clr>
        </p15:guide>
        <p15:guide id="5" pos="768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" name="Picture Placeholder 114">
            <a:extLst>
              <a:ext uri="{FF2B5EF4-FFF2-40B4-BE49-F238E27FC236}">
                <a16:creationId xmlns:a16="http://schemas.microsoft.com/office/drawing/2014/main" id="{2939B95A-6CBF-409F-84B3-42C0839203D0}"/>
              </a:ext>
            </a:extLst>
          </p:cNvPr>
          <p:cNvSpPr>
            <a:spLocks noGrp="1"/>
          </p:cNvSpPr>
          <p:nvPr>
            <p:ph type="pic" sz="quarter" idx="39"/>
          </p:nvPr>
        </p:nvSpPr>
        <p:spPr>
          <a:xfrm>
            <a:off x="0" y="-1"/>
            <a:ext cx="2022081" cy="1704862"/>
          </a:xfrm>
          <a:custGeom>
            <a:avLst/>
            <a:gdLst>
              <a:gd name="connsiteX0" fmla="*/ 0 w 4044689"/>
              <a:gd name="connsiteY0" fmla="*/ 0 h 3409723"/>
              <a:gd name="connsiteX1" fmla="*/ 4044689 w 4044689"/>
              <a:gd name="connsiteY1" fmla="*/ 0 h 3409723"/>
              <a:gd name="connsiteX2" fmla="*/ 4044689 w 4044689"/>
              <a:gd name="connsiteY2" fmla="*/ 3409723 h 3409723"/>
              <a:gd name="connsiteX3" fmla="*/ 0 w 4044689"/>
              <a:gd name="connsiteY3" fmla="*/ 3409723 h 34097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44689" h="3409723">
                <a:moveTo>
                  <a:pt x="0" y="0"/>
                </a:moveTo>
                <a:lnTo>
                  <a:pt x="4044689" y="0"/>
                </a:lnTo>
                <a:lnTo>
                  <a:pt x="4044689" y="3409723"/>
                </a:lnTo>
                <a:lnTo>
                  <a:pt x="0" y="3409723"/>
                </a:lnTo>
                <a:close/>
              </a:path>
            </a:pathLst>
          </a:custGeom>
          <a:pattFill prst="pct60">
            <a:fgClr>
              <a:srgbClr val="FFFFFF"/>
            </a:fgClr>
            <a:bgClr>
              <a:srgbClr val="E6E9EE"/>
            </a:bgClr>
          </a:pattFill>
        </p:spPr>
        <p:txBody>
          <a:bodyPr anchor="ctr"/>
          <a:lstStyle>
            <a:lvl1pPr>
              <a:defRPr lang="en-US"/>
            </a:lvl1pPr>
          </a:lstStyle>
          <a:p>
            <a:pPr lvl="0"/>
            <a:endParaRPr lang="en-US"/>
          </a:p>
        </p:txBody>
      </p:sp>
      <p:sp>
        <p:nvSpPr>
          <p:cNvPr id="116" name="Picture Placeholder 115">
            <a:extLst>
              <a:ext uri="{FF2B5EF4-FFF2-40B4-BE49-F238E27FC236}">
                <a16:creationId xmlns:a16="http://schemas.microsoft.com/office/drawing/2014/main" id="{AB40BECF-EB5B-43F0-9FB0-D40B193417E1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2033984" y="-1"/>
            <a:ext cx="2022081" cy="1704862"/>
          </a:xfrm>
          <a:custGeom>
            <a:avLst/>
            <a:gdLst>
              <a:gd name="connsiteX0" fmla="*/ 0 w 4044689"/>
              <a:gd name="connsiteY0" fmla="*/ 0 h 3409723"/>
              <a:gd name="connsiteX1" fmla="*/ 4044689 w 4044689"/>
              <a:gd name="connsiteY1" fmla="*/ 0 h 3409723"/>
              <a:gd name="connsiteX2" fmla="*/ 4044689 w 4044689"/>
              <a:gd name="connsiteY2" fmla="*/ 3409723 h 3409723"/>
              <a:gd name="connsiteX3" fmla="*/ 0 w 4044689"/>
              <a:gd name="connsiteY3" fmla="*/ 3409723 h 34097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44689" h="3409723">
                <a:moveTo>
                  <a:pt x="0" y="0"/>
                </a:moveTo>
                <a:lnTo>
                  <a:pt x="4044689" y="0"/>
                </a:lnTo>
                <a:lnTo>
                  <a:pt x="4044689" y="3409723"/>
                </a:lnTo>
                <a:lnTo>
                  <a:pt x="0" y="3409723"/>
                </a:lnTo>
                <a:close/>
              </a:path>
            </a:pathLst>
          </a:custGeom>
          <a:pattFill prst="pct60">
            <a:fgClr>
              <a:srgbClr val="FFFFFF"/>
            </a:fgClr>
            <a:bgClr>
              <a:srgbClr val="E6E9EE"/>
            </a:bgClr>
          </a:pattFill>
        </p:spPr>
        <p:txBody>
          <a:bodyPr anchor="ctr"/>
          <a:lstStyle>
            <a:lvl1pPr>
              <a:defRPr lang="en-US"/>
            </a:lvl1pPr>
          </a:lstStyle>
          <a:p>
            <a:pPr lvl="0"/>
            <a:endParaRPr lang="en-US"/>
          </a:p>
        </p:txBody>
      </p:sp>
      <p:sp>
        <p:nvSpPr>
          <p:cNvPr id="118" name="Picture Placeholder 117">
            <a:extLst>
              <a:ext uri="{FF2B5EF4-FFF2-40B4-BE49-F238E27FC236}">
                <a16:creationId xmlns:a16="http://schemas.microsoft.com/office/drawing/2014/main" id="{53AB5C98-F720-42C1-B036-26353EA021E3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6101951" y="-1"/>
            <a:ext cx="2022081" cy="1704862"/>
          </a:xfrm>
          <a:custGeom>
            <a:avLst/>
            <a:gdLst>
              <a:gd name="connsiteX0" fmla="*/ 0 w 4044689"/>
              <a:gd name="connsiteY0" fmla="*/ 0 h 3409723"/>
              <a:gd name="connsiteX1" fmla="*/ 4044689 w 4044689"/>
              <a:gd name="connsiteY1" fmla="*/ 0 h 3409723"/>
              <a:gd name="connsiteX2" fmla="*/ 4044689 w 4044689"/>
              <a:gd name="connsiteY2" fmla="*/ 3409723 h 3409723"/>
              <a:gd name="connsiteX3" fmla="*/ 0 w 4044689"/>
              <a:gd name="connsiteY3" fmla="*/ 3409723 h 34097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44689" h="3409723">
                <a:moveTo>
                  <a:pt x="0" y="0"/>
                </a:moveTo>
                <a:lnTo>
                  <a:pt x="4044689" y="0"/>
                </a:lnTo>
                <a:lnTo>
                  <a:pt x="4044689" y="3409723"/>
                </a:lnTo>
                <a:lnTo>
                  <a:pt x="0" y="3409723"/>
                </a:lnTo>
                <a:close/>
              </a:path>
            </a:pathLst>
          </a:custGeom>
          <a:pattFill prst="pct60">
            <a:fgClr>
              <a:srgbClr val="FFFFFF"/>
            </a:fgClr>
            <a:bgClr>
              <a:srgbClr val="E6E9EE"/>
            </a:bgClr>
          </a:pattFill>
        </p:spPr>
        <p:txBody>
          <a:bodyPr anchor="ctr"/>
          <a:lstStyle>
            <a:lvl1pPr>
              <a:defRPr lang="en-US"/>
            </a:lvl1pPr>
          </a:lstStyle>
          <a:p>
            <a:pPr lvl="0"/>
            <a:endParaRPr lang="en-US"/>
          </a:p>
        </p:txBody>
      </p:sp>
      <p:sp>
        <p:nvSpPr>
          <p:cNvPr id="119" name="Picture Placeholder 118">
            <a:extLst>
              <a:ext uri="{FF2B5EF4-FFF2-40B4-BE49-F238E27FC236}">
                <a16:creationId xmlns:a16="http://schemas.microsoft.com/office/drawing/2014/main" id="{A7B7ADEA-629D-47FB-960D-A1F8AC8D6DA6}"/>
              </a:ext>
            </a:extLst>
          </p:cNvPr>
          <p:cNvSpPr>
            <a:spLocks noGrp="1"/>
          </p:cNvSpPr>
          <p:nvPr>
            <p:ph type="pic" sz="quarter" idx="43"/>
          </p:nvPr>
        </p:nvSpPr>
        <p:spPr>
          <a:xfrm>
            <a:off x="8135934" y="-1"/>
            <a:ext cx="2022081" cy="1704862"/>
          </a:xfrm>
          <a:custGeom>
            <a:avLst/>
            <a:gdLst>
              <a:gd name="connsiteX0" fmla="*/ 0 w 4044688"/>
              <a:gd name="connsiteY0" fmla="*/ 0 h 3409723"/>
              <a:gd name="connsiteX1" fmla="*/ 4044688 w 4044688"/>
              <a:gd name="connsiteY1" fmla="*/ 0 h 3409723"/>
              <a:gd name="connsiteX2" fmla="*/ 4044688 w 4044688"/>
              <a:gd name="connsiteY2" fmla="*/ 3409723 h 3409723"/>
              <a:gd name="connsiteX3" fmla="*/ 0 w 4044688"/>
              <a:gd name="connsiteY3" fmla="*/ 3409723 h 34097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44688" h="3409723">
                <a:moveTo>
                  <a:pt x="0" y="0"/>
                </a:moveTo>
                <a:lnTo>
                  <a:pt x="4044688" y="0"/>
                </a:lnTo>
                <a:lnTo>
                  <a:pt x="4044688" y="3409723"/>
                </a:lnTo>
                <a:lnTo>
                  <a:pt x="0" y="3409723"/>
                </a:lnTo>
                <a:close/>
              </a:path>
            </a:pathLst>
          </a:custGeom>
          <a:pattFill prst="pct60">
            <a:fgClr>
              <a:srgbClr val="FFFFFF"/>
            </a:fgClr>
            <a:bgClr>
              <a:srgbClr val="E6E9EE"/>
            </a:bgClr>
          </a:pattFill>
        </p:spPr>
        <p:txBody>
          <a:bodyPr anchor="ctr"/>
          <a:lstStyle>
            <a:lvl1pPr>
              <a:defRPr lang="en-US"/>
            </a:lvl1pPr>
          </a:lstStyle>
          <a:p>
            <a:pPr lvl="0"/>
            <a:endParaRPr lang="en-US"/>
          </a:p>
        </p:txBody>
      </p:sp>
      <p:sp>
        <p:nvSpPr>
          <p:cNvPr id="120" name="Picture Placeholder 119">
            <a:extLst>
              <a:ext uri="{FF2B5EF4-FFF2-40B4-BE49-F238E27FC236}">
                <a16:creationId xmlns:a16="http://schemas.microsoft.com/office/drawing/2014/main" id="{4F9312AB-9B7D-4B09-959E-75FF662CDFFD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10169919" y="-1"/>
            <a:ext cx="2022082" cy="1704862"/>
          </a:xfrm>
          <a:custGeom>
            <a:avLst/>
            <a:gdLst>
              <a:gd name="connsiteX0" fmla="*/ 0 w 4044690"/>
              <a:gd name="connsiteY0" fmla="*/ 0 h 3409723"/>
              <a:gd name="connsiteX1" fmla="*/ 4044690 w 4044690"/>
              <a:gd name="connsiteY1" fmla="*/ 0 h 3409723"/>
              <a:gd name="connsiteX2" fmla="*/ 4044690 w 4044690"/>
              <a:gd name="connsiteY2" fmla="*/ 3409723 h 3409723"/>
              <a:gd name="connsiteX3" fmla="*/ 0 w 4044690"/>
              <a:gd name="connsiteY3" fmla="*/ 3409723 h 34097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44690" h="3409723">
                <a:moveTo>
                  <a:pt x="0" y="0"/>
                </a:moveTo>
                <a:lnTo>
                  <a:pt x="4044690" y="0"/>
                </a:lnTo>
                <a:lnTo>
                  <a:pt x="4044690" y="3409723"/>
                </a:lnTo>
                <a:lnTo>
                  <a:pt x="0" y="3409723"/>
                </a:lnTo>
                <a:close/>
              </a:path>
            </a:pathLst>
          </a:custGeom>
          <a:pattFill prst="pct60">
            <a:fgClr>
              <a:srgbClr val="FFFFFF"/>
            </a:fgClr>
            <a:bgClr>
              <a:srgbClr val="E6E9EE"/>
            </a:bgClr>
          </a:pattFill>
        </p:spPr>
        <p:txBody>
          <a:bodyPr anchor="ctr"/>
          <a:lstStyle>
            <a:lvl1pPr>
              <a:defRPr lang="en-US"/>
            </a:lvl1pPr>
          </a:lstStyle>
          <a:p>
            <a:pPr lvl="0"/>
            <a:endParaRPr lang="en-US"/>
          </a:p>
        </p:txBody>
      </p:sp>
      <p:sp>
        <p:nvSpPr>
          <p:cNvPr id="122" name="Picture Placeholder 121">
            <a:extLst>
              <a:ext uri="{FF2B5EF4-FFF2-40B4-BE49-F238E27FC236}">
                <a16:creationId xmlns:a16="http://schemas.microsoft.com/office/drawing/2014/main" id="{C21CF143-7CE8-4EDB-8F5B-1EAA4F3EB3D9}"/>
              </a:ext>
            </a:extLst>
          </p:cNvPr>
          <p:cNvSpPr>
            <a:spLocks noGrp="1"/>
          </p:cNvSpPr>
          <p:nvPr>
            <p:ph type="pic" sz="quarter" idx="46"/>
          </p:nvPr>
        </p:nvSpPr>
        <p:spPr>
          <a:xfrm>
            <a:off x="2033984" y="1717713"/>
            <a:ext cx="2022081" cy="1704862"/>
          </a:xfrm>
          <a:custGeom>
            <a:avLst/>
            <a:gdLst>
              <a:gd name="connsiteX0" fmla="*/ 0 w 4044689"/>
              <a:gd name="connsiteY0" fmla="*/ 0 h 3409723"/>
              <a:gd name="connsiteX1" fmla="*/ 4044689 w 4044689"/>
              <a:gd name="connsiteY1" fmla="*/ 0 h 3409723"/>
              <a:gd name="connsiteX2" fmla="*/ 4044689 w 4044689"/>
              <a:gd name="connsiteY2" fmla="*/ 3409723 h 3409723"/>
              <a:gd name="connsiteX3" fmla="*/ 0 w 4044689"/>
              <a:gd name="connsiteY3" fmla="*/ 3409723 h 34097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44689" h="3409723">
                <a:moveTo>
                  <a:pt x="0" y="0"/>
                </a:moveTo>
                <a:lnTo>
                  <a:pt x="4044689" y="0"/>
                </a:lnTo>
                <a:lnTo>
                  <a:pt x="4044689" y="3409723"/>
                </a:lnTo>
                <a:lnTo>
                  <a:pt x="0" y="3409723"/>
                </a:lnTo>
                <a:close/>
              </a:path>
            </a:pathLst>
          </a:custGeom>
          <a:pattFill prst="pct60">
            <a:fgClr>
              <a:srgbClr val="FFFFFF"/>
            </a:fgClr>
            <a:bgClr>
              <a:srgbClr val="E6E9EE"/>
            </a:bgClr>
          </a:pattFill>
        </p:spPr>
        <p:txBody>
          <a:bodyPr anchor="ctr"/>
          <a:lstStyle>
            <a:lvl1pPr>
              <a:defRPr lang="en-US"/>
            </a:lvl1pPr>
          </a:lstStyle>
          <a:p>
            <a:pPr lvl="0"/>
            <a:endParaRPr lang="en-US"/>
          </a:p>
        </p:txBody>
      </p:sp>
      <p:sp>
        <p:nvSpPr>
          <p:cNvPr id="123" name="Picture Placeholder 122">
            <a:extLst>
              <a:ext uri="{FF2B5EF4-FFF2-40B4-BE49-F238E27FC236}">
                <a16:creationId xmlns:a16="http://schemas.microsoft.com/office/drawing/2014/main" id="{676C95BA-1B92-4AF1-A0AD-7D39D1802849}"/>
              </a:ext>
            </a:extLst>
          </p:cNvPr>
          <p:cNvSpPr>
            <a:spLocks noGrp="1"/>
          </p:cNvSpPr>
          <p:nvPr>
            <p:ph type="pic" sz="quarter" idx="47"/>
          </p:nvPr>
        </p:nvSpPr>
        <p:spPr>
          <a:xfrm>
            <a:off x="4067968" y="1717713"/>
            <a:ext cx="2022081" cy="1704862"/>
          </a:xfrm>
          <a:custGeom>
            <a:avLst/>
            <a:gdLst>
              <a:gd name="connsiteX0" fmla="*/ 0 w 4044689"/>
              <a:gd name="connsiteY0" fmla="*/ 0 h 3409723"/>
              <a:gd name="connsiteX1" fmla="*/ 4044689 w 4044689"/>
              <a:gd name="connsiteY1" fmla="*/ 0 h 3409723"/>
              <a:gd name="connsiteX2" fmla="*/ 4044689 w 4044689"/>
              <a:gd name="connsiteY2" fmla="*/ 3409723 h 3409723"/>
              <a:gd name="connsiteX3" fmla="*/ 0 w 4044689"/>
              <a:gd name="connsiteY3" fmla="*/ 3409723 h 34097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44689" h="3409723">
                <a:moveTo>
                  <a:pt x="0" y="0"/>
                </a:moveTo>
                <a:lnTo>
                  <a:pt x="4044689" y="0"/>
                </a:lnTo>
                <a:lnTo>
                  <a:pt x="4044689" y="3409723"/>
                </a:lnTo>
                <a:lnTo>
                  <a:pt x="0" y="3409723"/>
                </a:lnTo>
                <a:close/>
              </a:path>
            </a:pathLst>
          </a:custGeom>
          <a:pattFill prst="pct60">
            <a:fgClr>
              <a:srgbClr val="FFFFFF"/>
            </a:fgClr>
            <a:bgClr>
              <a:srgbClr val="E6E9EE"/>
            </a:bgClr>
          </a:pattFill>
        </p:spPr>
        <p:txBody>
          <a:bodyPr anchor="ctr"/>
          <a:lstStyle>
            <a:lvl1pPr>
              <a:defRPr lang="en-US"/>
            </a:lvl1pPr>
          </a:lstStyle>
          <a:p>
            <a:pPr lvl="0"/>
            <a:endParaRPr lang="en-US"/>
          </a:p>
        </p:txBody>
      </p:sp>
      <p:sp>
        <p:nvSpPr>
          <p:cNvPr id="124" name="Picture Placeholder 123">
            <a:extLst>
              <a:ext uri="{FF2B5EF4-FFF2-40B4-BE49-F238E27FC236}">
                <a16:creationId xmlns:a16="http://schemas.microsoft.com/office/drawing/2014/main" id="{09B06827-9EF7-4EC9-88E0-7E5D47719289}"/>
              </a:ext>
            </a:extLst>
          </p:cNvPr>
          <p:cNvSpPr>
            <a:spLocks noGrp="1"/>
          </p:cNvSpPr>
          <p:nvPr>
            <p:ph type="pic" sz="quarter" idx="48"/>
          </p:nvPr>
        </p:nvSpPr>
        <p:spPr>
          <a:xfrm>
            <a:off x="6101951" y="1717713"/>
            <a:ext cx="2022081" cy="1704862"/>
          </a:xfrm>
          <a:custGeom>
            <a:avLst/>
            <a:gdLst>
              <a:gd name="connsiteX0" fmla="*/ 0 w 4044689"/>
              <a:gd name="connsiteY0" fmla="*/ 0 h 3409723"/>
              <a:gd name="connsiteX1" fmla="*/ 4044689 w 4044689"/>
              <a:gd name="connsiteY1" fmla="*/ 0 h 3409723"/>
              <a:gd name="connsiteX2" fmla="*/ 4044689 w 4044689"/>
              <a:gd name="connsiteY2" fmla="*/ 3409723 h 3409723"/>
              <a:gd name="connsiteX3" fmla="*/ 0 w 4044689"/>
              <a:gd name="connsiteY3" fmla="*/ 3409723 h 34097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44689" h="3409723">
                <a:moveTo>
                  <a:pt x="0" y="0"/>
                </a:moveTo>
                <a:lnTo>
                  <a:pt x="4044689" y="0"/>
                </a:lnTo>
                <a:lnTo>
                  <a:pt x="4044689" y="3409723"/>
                </a:lnTo>
                <a:lnTo>
                  <a:pt x="0" y="3409723"/>
                </a:lnTo>
                <a:close/>
              </a:path>
            </a:pathLst>
          </a:custGeom>
          <a:pattFill prst="pct60">
            <a:fgClr>
              <a:srgbClr val="FFFFFF"/>
            </a:fgClr>
            <a:bgClr>
              <a:srgbClr val="E6E9EE"/>
            </a:bgClr>
          </a:pattFill>
        </p:spPr>
        <p:txBody>
          <a:bodyPr anchor="ctr"/>
          <a:lstStyle>
            <a:lvl1pPr>
              <a:defRPr lang="en-US"/>
            </a:lvl1pPr>
          </a:lstStyle>
          <a:p>
            <a:pPr lvl="0"/>
            <a:endParaRPr lang="en-US"/>
          </a:p>
        </p:txBody>
      </p:sp>
      <p:sp>
        <p:nvSpPr>
          <p:cNvPr id="126" name="Picture Placeholder 125">
            <a:extLst>
              <a:ext uri="{FF2B5EF4-FFF2-40B4-BE49-F238E27FC236}">
                <a16:creationId xmlns:a16="http://schemas.microsoft.com/office/drawing/2014/main" id="{24D86F31-D54B-49AB-BB38-E9ACE3B86956}"/>
              </a:ext>
            </a:extLst>
          </p:cNvPr>
          <p:cNvSpPr>
            <a:spLocks noGrp="1"/>
          </p:cNvSpPr>
          <p:nvPr>
            <p:ph type="pic" sz="quarter" idx="50"/>
          </p:nvPr>
        </p:nvSpPr>
        <p:spPr>
          <a:xfrm>
            <a:off x="10169919" y="1717713"/>
            <a:ext cx="2022082" cy="1704862"/>
          </a:xfrm>
          <a:custGeom>
            <a:avLst/>
            <a:gdLst>
              <a:gd name="connsiteX0" fmla="*/ 0 w 4044690"/>
              <a:gd name="connsiteY0" fmla="*/ 0 h 3409723"/>
              <a:gd name="connsiteX1" fmla="*/ 4044690 w 4044690"/>
              <a:gd name="connsiteY1" fmla="*/ 0 h 3409723"/>
              <a:gd name="connsiteX2" fmla="*/ 4044690 w 4044690"/>
              <a:gd name="connsiteY2" fmla="*/ 3409723 h 3409723"/>
              <a:gd name="connsiteX3" fmla="*/ 0 w 4044690"/>
              <a:gd name="connsiteY3" fmla="*/ 3409723 h 34097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44690" h="3409723">
                <a:moveTo>
                  <a:pt x="0" y="0"/>
                </a:moveTo>
                <a:lnTo>
                  <a:pt x="4044690" y="0"/>
                </a:lnTo>
                <a:lnTo>
                  <a:pt x="4044690" y="3409723"/>
                </a:lnTo>
                <a:lnTo>
                  <a:pt x="0" y="3409723"/>
                </a:lnTo>
                <a:close/>
              </a:path>
            </a:pathLst>
          </a:custGeom>
          <a:pattFill prst="pct60">
            <a:fgClr>
              <a:srgbClr val="FFFFFF"/>
            </a:fgClr>
            <a:bgClr>
              <a:srgbClr val="E6E9EE"/>
            </a:bgClr>
          </a:pattFill>
        </p:spPr>
        <p:txBody>
          <a:bodyPr anchor="ctr"/>
          <a:lstStyle>
            <a:lvl1pPr>
              <a:defRPr lang="en-US"/>
            </a:lvl1pPr>
          </a:lstStyle>
          <a:p>
            <a:pPr lvl="0"/>
            <a:endParaRPr lang="en-US"/>
          </a:p>
        </p:txBody>
      </p:sp>
      <p:sp>
        <p:nvSpPr>
          <p:cNvPr id="127" name="Picture Placeholder 126">
            <a:extLst>
              <a:ext uri="{FF2B5EF4-FFF2-40B4-BE49-F238E27FC236}">
                <a16:creationId xmlns:a16="http://schemas.microsoft.com/office/drawing/2014/main" id="{49C7DD07-2040-4ADB-A7E0-F22A03458583}"/>
              </a:ext>
            </a:extLst>
          </p:cNvPr>
          <p:cNvSpPr>
            <a:spLocks noGrp="1"/>
          </p:cNvSpPr>
          <p:nvPr>
            <p:ph type="pic" sz="quarter" idx="51"/>
          </p:nvPr>
        </p:nvSpPr>
        <p:spPr>
          <a:xfrm>
            <a:off x="0" y="3435426"/>
            <a:ext cx="2022081" cy="1704862"/>
          </a:xfrm>
          <a:custGeom>
            <a:avLst/>
            <a:gdLst>
              <a:gd name="connsiteX0" fmla="*/ 0 w 4044689"/>
              <a:gd name="connsiteY0" fmla="*/ 0 h 3409723"/>
              <a:gd name="connsiteX1" fmla="*/ 4044689 w 4044689"/>
              <a:gd name="connsiteY1" fmla="*/ 0 h 3409723"/>
              <a:gd name="connsiteX2" fmla="*/ 4044689 w 4044689"/>
              <a:gd name="connsiteY2" fmla="*/ 3409723 h 3409723"/>
              <a:gd name="connsiteX3" fmla="*/ 0 w 4044689"/>
              <a:gd name="connsiteY3" fmla="*/ 3409723 h 34097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44689" h="3409723">
                <a:moveTo>
                  <a:pt x="0" y="0"/>
                </a:moveTo>
                <a:lnTo>
                  <a:pt x="4044689" y="0"/>
                </a:lnTo>
                <a:lnTo>
                  <a:pt x="4044689" y="3409723"/>
                </a:lnTo>
                <a:lnTo>
                  <a:pt x="0" y="3409723"/>
                </a:lnTo>
                <a:close/>
              </a:path>
            </a:pathLst>
          </a:custGeom>
          <a:pattFill prst="pct60">
            <a:fgClr>
              <a:srgbClr val="FFFFFF"/>
            </a:fgClr>
            <a:bgClr>
              <a:srgbClr val="E6E9EE"/>
            </a:bgClr>
          </a:pattFill>
        </p:spPr>
        <p:txBody>
          <a:bodyPr anchor="ctr"/>
          <a:lstStyle>
            <a:lvl1pPr>
              <a:defRPr lang="en-US"/>
            </a:lvl1pPr>
          </a:lstStyle>
          <a:p>
            <a:pPr lvl="0"/>
            <a:endParaRPr lang="en-US"/>
          </a:p>
        </p:txBody>
      </p:sp>
      <p:sp>
        <p:nvSpPr>
          <p:cNvPr id="128" name="Picture Placeholder 127">
            <a:extLst>
              <a:ext uri="{FF2B5EF4-FFF2-40B4-BE49-F238E27FC236}">
                <a16:creationId xmlns:a16="http://schemas.microsoft.com/office/drawing/2014/main" id="{0A16FB21-FEDC-4115-B682-77804B1F1599}"/>
              </a:ext>
            </a:extLst>
          </p:cNvPr>
          <p:cNvSpPr>
            <a:spLocks noGrp="1"/>
          </p:cNvSpPr>
          <p:nvPr>
            <p:ph type="pic" sz="quarter" idx="52"/>
          </p:nvPr>
        </p:nvSpPr>
        <p:spPr>
          <a:xfrm>
            <a:off x="2033984" y="3435426"/>
            <a:ext cx="2022081" cy="1704862"/>
          </a:xfrm>
          <a:custGeom>
            <a:avLst/>
            <a:gdLst>
              <a:gd name="connsiteX0" fmla="*/ 0 w 4044689"/>
              <a:gd name="connsiteY0" fmla="*/ 0 h 3409723"/>
              <a:gd name="connsiteX1" fmla="*/ 4044689 w 4044689"/>
              <a:gd name="connsiteY1" fmla="*/ 0 h 3409723"/>
              <a:gd name="connsiteX2" fmla="*/ 4044689 w 4044689"/>
              <a:gd name="connsiteY2" fmla="*/ 3409723 h 3409723"/>
              <a:gd name="connsiteX3" fmla="*/ 0 w 4044689"/>
              <a:gd name="connsiteY3" fmla="*/ 3409723 h 34097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44689" h="3409723">
                <a:moveTo>
                  <a:pt x="0" y="0"/>
                </a:moveTo>
                <a:lnTo>
                  <a:pt x="4044689" y="0"/>
                </a:lnTo>
                <a:lnTo>
                  <a:pt x="4044689" y="3409723"/>
                </a:lnTo>
                <a:lnTo>
                  <a:pt x="0" y="3409723"/>
                </a:lnTo>
                <a:close/>
              </a:path>
            </a:pathLst>
          </a:custGeom>
          <a:pattFill prst="pct60">
            <a:fgClr>
              <a:srgbClr val="FFFFFF"/>
            </a:fgClr>
            <a:bgClr>
              <a:srgbClr val="E6E9EE"/>
            </a:bgClr>
          </a:pattFill>
        </p:spPr>
        <p:txBody>
          <a:bodyPr anchor="ctr"/>
          <a:lstStyle>
            <a:lvl1pPr>
              <a:defRPr lang="en-US"/>
            </a:lvl1pPr>
          </a:lstStyle>
          <a:p>
            <a:pPr lvl="0"/>
            <a:endParaRPr lang="en-US"/>
          </a:p>
        </p:txBody>
      </p:sp>
      <p:sp>
        <p:nvSpPr>
          <p:cNvPr id="130" name="Picture Placeholder 129">
            <a:extLst>
              <a:ext uri="{FF2B5EF4-FFF2-40B4-BE49-F238E27FC236}">
                <a16:creationId xmlns:a16="http://schemas.microsoft.com/office/drawing/2014/main" id="{09FBAFEB-6675-4992-9F59-3CDEEB06C1E2}"/>
              </a:ext>
            </a:extLst>
          </p:cNvPr>
          <p:cNvSpPr>
            <a:spLocks noGrp="1"/>
          </p:cNvSpPr>
          <p:nvPr>
            <p:ph type="pic" sz="quarter" idx="54"/>
          </p:nvPr>
        </p:nvSpPr>
        <p:spPr>
          <a:xfrm>
            <a:off x="6101951" y="3435426"/>
            <a:ext cx="2022081" cy="1704862"/>
          </a:xfrm>
          <a:custGeom>
            <a:avLst/>
            <a:gdLst>
              <a:gd name="connsiteX0" fmla="*/ 0 w 4044689"/>
              <a:gd name="connsiteY0" fmla="*/ 0 h 3409723"/>
              <a:gd name="connsiteX1" fmla="*/ 4044689 w 4044689"/>
              <a:gd name="connsiteY1" fmla="*/ 0 h 3409723"/>
              <a:gd name="connsiteX2" fmla="*/ 4044689 w 4044689"/>
              <a:gd name="connsiteY2" fmla="*/ 3409723 h 3409723"/>
              <a:gd name="connsiteX3" fmla="*/ 0 w 4044689"/>
              <a:gd name="connsiteY3" fmla="*/ 3409723 h 34097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44689" h="3409723">
                <a:moveTo>
                  <a:pt x="0" y="0"/>
                </a:moveTo>
                <a:lnTo>
                  <a:pt x="4044689" y="0"/>
                </a:lnTo>
                <a:lnTo>
                  <a:pt x="4044689" y="3409723"/>
                </a:lnTo>
                <a:lnTo>
                  <a:pt x="0" y="3409723"/>
                </a:lnTo>
                <a:close/>
              </a:path>
            </a:pathLst>
          </a:custGeom>
          <a:pattFill prst="pct60">
            <a:fgClr>
              <a:srgbClr val="FFFFFF"/>
            </a:fgClr>
            <a:bgClr>
              <a:srgbClr val="E6E9EE"/>
            </a:bgClr>
          </a:pattFill>
        </p:spPr>
        <p:txBody>
          <a:bodyPr anchor="ctr"/>
          <a:lstStyle>
            <a:lvl1pPr>
              <a:defRPr lang="en-US"/>
            </a:lvl1pPr>
          </a:lstStyle>
          <a:p>
            <a:pPr lvl="0"/>
            <a:endParaRPr lang="en-US"/>
          </a:p>
        </p:txBody>
      </p:sp>
      <p:sp>
        <p:nvSpPr>
          <p:cNvPr id="131" name="Picture Placeholder 130">
            <a:extLst>
              <a:ext uri="{FF2B5EF4-FFF2-40B4-BE49-F238E27FC236}">
                <a16:creationId xmlns:a16="http://schemas.microsoft.com/office/drawing/2014/main" id="{73DE433A-65DB-4D80-BEBA-C0E98C0B13CD}"/>
              </a:ext>
            </a:extLst>
          </p:cNvPr>
          <p:cNvSpPr>
            <a:spLocks noGrp="1"/>
          </p:cNvSpPr>
          <p:nvPr>
            <p:ph type="pic" sz="quarter" idx="55"/>
          </p:nvPr>
        </p:nvSpPr>
        <p:spPr>
          <a:xfrm>
            <a:off x="8135934" y="3435426"/>
            <a:ext cx="2022081" cy="1704862"/>
          </a:xfrm>
          <a:custGeom>
            <a:avLst/>
            <a:gdLst>
              <a:gd name="connsiteX0" fmla="*/ 0 w 4044688"/>
              <a:gd name="connsiteY0" fmla="*/ 0 h 3409723"/>
              <a:gd name="connsiteX1" fmla="*/ 4044688 w 4044688"/>
              <a:gd name="connsiteY1" fmla="*/ 0 h 3409723"/>
              <a:gd name="connsiteX2" fmla="*/ 4044688 w 4044688"/>
              <a:gd name="connsiteY2" fmla="*/ 3409723 h 3409723"/>
              <a:gd name="connsiteX3" fmla="*/ 0 w 4044688"/>
              <a:gd name="connsiteY3" fmla="*/ 3409723 h 34097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44688" h="3409723">
                <a:moveTo>
                  <a:pt x="0" y="0"/>
                </a:moveTo>
                <a:lnTo>
                  <a:pt x="4044688" y="0"/>
                </a:lnTo>
                <a:lnTo>
                  <a:pt x="4044688" y="3409723"/>
                </a:lnTo>
                <a:lnTo>
                  <a:pt x="0" y="3409723"/>
                </a:lnTo>
                <a:close/>
              </a:path>
            </a:pathLst>
          </a:custGeom>
          <a:pattFill prst="pct60">
            <a:fgClr>
              <a:srgbClr val="FFFFFF"/>
            </a:fgClr>
            <a:bgClr>
              <a:srgbClr val="E6E9EE"/>
            </a:bgClr>
          </a:pattFill>
        </p:spPr>
        <p:txBody>
          <a:bodyPr anchor="ctr"/>
          <a:lstStyle>
            <a:lvl1pPr>
              <a:defRPr lang="en-US"/>
            </a:lvl1pPr>
          </a:lstStyle>
          <a:p>
            <a:pPr lvl="0"/>
            <a:endParaRPr lang="en-US"/>
          </a:p>
        </p:txBody>
      </p:sp>
      <p:sp>
        <p:nvSpPr>
          <p:cNvPr id="133" name="Picture Placeholder 132">
            <a:extLst>
              <a:ext uri="{FF2B5EF4-FFF2-40B4-BE49-F238E27FC236}">
                <a16:creationId xmlns:a16="http://schemas.microsoft.com/office/drawing/2014/main" id="{1C48A930-F2CC-46AD-B2D2-40758BAF99DC}"/>
              </a:ext>
            </a:extLst>
          </p:cNvPr>
          <p:cNvSpPr>
            <a:spLocks noGrp="1"/>
          </p:cNvSpPr>
          <p:nvPr>
            <p:ph type="pic" sz="quarter" idx="57"/>
          </p:nvPr>
        </p:nvSpPr>
        <p:spPr>
          <a:xfrm>
            <a:off x="0" y="5153139"/>
            <a:ext cx="2022081" cy="1704862"/>
          </a:xfrm>
          <a:custGeom>
            <a:avLst/>
            <a:gdLst>
              <a:gd name="connsiteX0" fmla="*/ 0 w 4044689"/>
              <a:gd name="connsiteY0" fmla="*/ 0 h 3409723"/>
              <a:gd name="connsiteX1" fmla="*/ 4044689 w 4044689"/>
              <a:gd name="connsiteY1" fmla="*/ 0 h 3409723"/>
              <a:gd name="connsiteX2" fmla="*/ 4044689 w 4044689"/>
              <a:gd name="connsiteY2" fmla="*/ 3409723 h 3409723"/>
              <a:gd name="connsiteX3" fmla="*/ 0 w 4044689"/>
              <a:gd name="connsiteY3" fmla="*/ 3409723 h 34097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44689" h="3409723">
                <a:moveTo>
                  <a:pt x="0" y="0"/>
                </a:moveTo>
                <a:lnTo>
                  <a:pt x="4044689" y="0"/>
                </a:lnTo>
                <a:lnTo>
                  <a:pt x="4044689" y="3409723"/>
                </a:lnTo>
                <a:lnTo>
                  <a:pt x="0" y="3409723"/>
                </a:lnTo>
                <a:close/>
              </a:path>
            </a:pathLst>
          </a:custGeom>
          <a:pattFill prst="pct60">
            <a:fgClr>
              <a:srgbClr val="FFFFFF"/>
            </a:fgClr>
            <a:bgClr>
              <a:srgbClr val="E6E9EE"/>
            </a:bgClr>
          </a:pattFill>
        </p:spPr>
        <p:txBody>
          <a:bodyPr anchor="ctr"/>
          <a:lstStyle>
            <a:lvl1pPr>
              <a:defRPr lang="en-US"/>
            </a:lvl1pPr>
          </a:lstStyle>
          <a:p>
            <a:pPr lvl="0"/>
            <a:endParaRPr lang="en-US"/>
          </a:p>
        </p:txBody>
      </p:sp>
      <p:sp>
        <p:nvSpPr>
          <p:cNvPr id="135" name="Picture Placeholder 134">
            <a:extLst>
              <a:ext uri="{FF2B5EF4-FFF2-40B4-BE49-F238E27FC236}">
                <a16:creationId xmlns:a16="http://schemas.microsoft.com/office/drawing/2014/main" id="{FF796C8D-5331-4731-A404-B7B2D5A9E529}"/>
              </a:ext>
            </a:extLst>
          </p:cNvPr>
          <p:cNvSpPr>
            <a:spLocks noGrp="1"/>
          </p:cNvSpPr>
          <p:nvPr>
            <p:ph type="pic" sz="quarter" idx="59"/>
          </p:nvPr>
        </p:nvSpPr>
        <p:spPr>
          <a:xfrm>
            <a:off x="4067968" y="5153139"/>
            <a:ext cx="2022081" cy="1704862"/>
          </a:xfrm>
          <a:custGeom>
            <a:avLst/>
            <a:gdLst>
              <a:gd name="connsiteX0" fmla="*/ 0 w 4044689"/>
              <a:gd name="connsiteY0" fmla="*/ 0 h 3409723"/>
              <a:gd name="connsiteX1" fmla="*/ 4044689 w 4044689"/>
              <a:gd name="connsiteY1" fmla="*/ 0 h 3409723"/>
              <a:gd name="connsiteX2" fmla="*/ 4044689 w 4044689"/>
              <a:gd name="connsiteY2" fmla="*/ 3409723 h 3409723"/>
              <a:gd name="connsiteX3" fmla="*/ 0 w 4044689"/>
              <a:gd name="connsiteY3" fmla="*/ 3409723 h 34097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44689" h="3409723">
                <a:moveTo>
                  <a:pt x="0" y="0"/>
                </a:moveTo>
                <a:lnTo>
                  <a:pt x="4044689" y="0"/>
                </a:lnTo>
                <a:lnTo>
                  <a:pt x="4044689" y="3409723"/>
                </a:lnTo>
                <a:lnTo>
                  <a:pt x="0" y="3409723"/>
                </a:lnTo>
                <a:close/>
              </a:path>
            </a:pathLst>
          </a:custGeom>
          <a:pattFill prst="pct60">
            <a:fgClr>
              <a:srgbClr val="FFFFFF"/>
            </a:fgClr>
            <a:bgClr>
              <a:srgbClr val="E6E9EE"/>
            </a:bgClr>
          </a:pattFill>
        </p:spPr>
        <p:txBody>
          <a:bodyPr anchor="ctr"/>
          <a:lstStyle>
            <a:lvl1pPr>
              <a:defRPr lang="en-US"/>
            </a:lvl1pPr>
          </a:lstStyle>
          <a:p>
            <a:pPr lvl="0"/>
            <a:endParaRPr lang="en-US"/>
          </a:p>
        </p:txBody>
      </p:sp>
      <p:sp>
        <p:nvSpPr>
          <p:cNvPr id="136" name="Picture Placeholder 135">
            <a:extLst>
              <a:ext uri="{FF2B5EF4-FFF2-40B4-BE49-F238E27FC236}">
                <a16:creationId xmlns:a16="http://schemas.microsoft.com/office/drawing/2014/main" id="{7F0BA582-E839-40B1-9A4B-DFE0D1A9D75F}"/>
              </a:ext>
            </a:extLst>
          </p:cNvPr>
          <p:cNvSpPr>
            <a:spLocks noGrp="1"/>
          </p:cNvSpPr>
          <p:nvPr>
            <p:ph type="pic" sz="quarter" idx="60"/>
          </p:nvPr>
        </p:nvSpPr>
        <p:spPr>
          <a:xfrm>
            <a:off x="6101951" y="5153139"/>
            <a:ext cx="2022081" cy="1704862"/>
          </a:xfrm>
          <a:custGeom>
            <a:avLst/>
            <a:gdLst>
              <a:gd name="connsiteX0" fmla="*/ 0 w 4044689"/>
              <a:gd name="connsiteY0" fmla="*/ 0 h 3409723"/>
              <a:gd name="connsiteX1" fmla="*/ 4044689 w 4044689"/>
              <a:gd name="connsiteY1" fmla="*/ 0 h 3409723"/>
              <a:gd name="connsiteX2" fmla="*/ 4044689 w 4044689"/>
              <a:gd name="connsiteY2" fmla="*/ 3409723 h 3409723"/>
              <a:gd name="connsiteX3" fmla="*/ 0 w 4044689"/>
              <a:gd name="connsiteY3" fmla="*/ 3409723 h 34097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44689" h="3409723">
                <a:moveTo>
                  <a:pt x="0" y="0"/>
                </a:moveTo>
                <a:lnTo>
                  <a:pt x="4044689" y="0"/>
                </a:lnTo>
                <a:lnTo>
                  <a:pt x="4044689" y="3409723"/>
                </a:lnTo>
                <a:lnTo>
                  <a:pt x="0" y="3409723"/>
                </a:lnTo>
                <a:close/>
              </a:path>
            </a:pathLst>
          </a:custGeom>
          <a:pattFill prst="pct60">
            <a:fgClr>
              <a:srgbClr val="FFFFFF"/>
            </a:fgClr>
            <a:bgClr>
              <a:srgbClr val="E6E9EE"/>
            </a:bgClr>
          </a:pattFill>
        </p:spPr>
        <p:txBody>
          <a:bodyPr anchor="ctr"/>
          <a:lstStyle>
            <a:lvl1pPr>
              <a:defRPr lang="en-US"/>
            </a:lvl1pPr>
          </a:lstStyle>
          <a:p>
            <a:pPr lvl="0"/>
            <a:endParaRPr lang="en-US"/>
          </a:p>
        </p:txBody>
      </p:sp>
      <p:sp>
        <p:nvSpPr>
          <p:cNvPr id="139" name="Picture Placeholder 138">
            <a:extLst>
              <a:ext uri="{FF2B5EF4-FFF2-40B4-BE49-F238E27FC236}">
                <a16:creationId xmlns:a16="http://schemas.microsoft.com/office/drawing/2014/main" id="{9376C177-5763-401A-9E03-56709766AA9F}"/>
              </a:ext>
            </a:extLst>
          </p:cNvPr>
          <p:cNvSpPr>
            <a:spLocks noGrp="1"/>
          </p:cNvSpPr>
          <p:nvPr>
            <p:ph type="pic" sz="quarter" idx="62"/>
          </p:nvPr>
        </p:nvSpPr>
        <p:spPr>
          <a:xfrm>
            <a:off x="10169919" y="5153139"/>
            <a:ext cx="2022082" cy="1704862"/>
          </a:xfrm>
          <a:custGeom>
            <a:avLst/>
            <a:gdLst>
              <a:gd name="connsiteX0" fmla="*/ 0 w 4044690"/>
              <a:gd name="connsiteY0" fmla="*/ 0 h 3409723"/>
              <a:gd name="connsiteX1" fmla="*/ 4044690 w 4044690"/>
              <a:gd name="connsiteY1" fmla="*/ 0 h 3409723"/>
              <a:gd name="connsiteX2" fmla="*/ 4044690 w 4044690"/>
              <a:gd name="connsiteY2" fmla="*/ 3409723 h 3409723"/>
              <a:gd name="connsiteX3" fmla="*/ 0 w 4044690"/>
              <a:gd name="connsiteY3" fmla="*/ 3409723 h 34097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44690" h="3409723">
                <a:moveTo>
                  <a:pt x="0" y="0"/>
                </a:moveTo>
                <a:lnTo>
                  <a:pt x="4044690" y="0"/>
                </a:lnTo>
                <a:lnTo>
                  <a:pt x="4044690" y="3409723"/>
                </a:lnTo>
                <a:lnTo>
                  <a:pt x="0" y="3409723"/>
                </a:lnTo>
                <a:close/>
              </a:path>
            </a:pathLst>
          </a:custGeom>
          <a:pattFill prst="pct60">
            <a:fgClr>
              <a:srgbClr val="FFFFFF"/>
            </a:fgClr>
            <a:bgClr>
              <a:srgbClr val="E6E9EE"/>
            </a:bgClr>
          </a:pattFill>
        </p:spPr>
        <p:txBody>
          <a:bodyPr anchor="ctr"/>
          <a:lstStyle>
            <a:lvl1pPr>
              <a:defRPr lang="en-US"/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391142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3" presetClass="entr" presetSubtype="28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13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/3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3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/3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3" presetClass="entr" presetSubtype="288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12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/3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12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/3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3" presetClass="entr" presetSubtype="288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12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/3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12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/3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3" presetClass="entr" presetSubtype="288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12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/3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12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/3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3" presetClass="entr" presetSubtype="288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12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/3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12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/3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3" presetClass="entr" presetSubtype="288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13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/3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13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/3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3" presetClass="entr" presetSubtype="288" fill="hold" grpId="0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13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/3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13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/3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23" presetClass="entr" presetSubtype="288" fill="hold" grpId="0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5" dur="500" fill="hold"/>
                                        <p:tgtEl>
                                          <p:spTgt spid="13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/3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500" fill="hold"/>
                                        <p:tgtEl>
                                          <p:spTgt spid="13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/3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23" presetClass="entr" presetSubtype="288" fill="hold" grpId="0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11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/3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11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/3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1" presetID="23" presetClass="entr" presetSubtype="288" fill="hold" grpId="0" nodeType="withEffect">
                                  <p:stCondLst>
                                    <p:cond delay="90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3" dur="500" fill="hold"/>
                                        <p:tgtEl>
                                          <p:spTgt spid="11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/3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500" fill="hold"/>
                                        <p:tgtEl>
                                          <p:spTgt spid="11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/3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5" presetID="23" presetClass="entr" presetSubtype="288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7" dur="500" fill="hold"/>
                                        <p:tgtEl>
                                          <p:spTgt spid="11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/3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500" fill="hold"/>
                                        <p:tgtEl>
                                          <p:spTgt spid="11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/3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9" presetID="23" presetClass="entr" presetSubtype="288" fill="hold" grpId="0" nodeType="withEffect">
                                  <p:stCondLst>
                                    <p:cond delay="110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1" dur="500" fill="hold"/>
                                        <p:tgtEl>
                                          <p:spTgt spid="12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/3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2" dur="500" fill="hold"/>
                                        <p:tgtEl>
                                          <p:spTgt spid="12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/3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3" presetID="23" presetClass="entr" presetSubtype="288" fill="hold" grpId="0" nodeType="withEffect">
                                  <p:stCondLst>
                                    <p:cond delay="120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5" dur="500" fill="hold"/>
                                        <p:tgtEl>
                                          <p:spTgt spid="13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/3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6" dur="500" fill="hold"/>
                                        <p:tgtEl>
                                          <p:spTgt spid="13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/3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7" presetID="23" presetClass="entr" presetSubtype="288" fill="hold" grpId="0" nodeType="withEffect">
                                  <p:stCondLst>
                                    <p:cond delay="130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9" dur="500" fill="hold"/>
                                        <p:tgtEl>
                                          <p:spTgt spid="13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/3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0" dur="500" fill="hold"/>
                                        <p:tgtEl>
                                          <p:spTgt spid="13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/3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1" presetID="23" presetClass="entr" presetSubtype="288" fill="hold" grpId="0" nodeType="withEffect">
                                  <p:stCondLst>
                                    <p:cond delay="140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3" dur="500" fill="hold"/>
                                        <p:tgtEl>
                                          <p:spTgt spid="12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/3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4" dur="500" fill="hold"/>
                                        <p:tgtEl>
                                          <p:spTgt spid="12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/3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5" presetID="23" presetClass="entr" presetSubtype="288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7" dur="500" fill="hold"/>
                                        <p:tgtEl>
                                          <p:spTgt spid="12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/3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8" dur="500" fill="hold"/>
                                        <p:tgtEl>
                                          <p:spTgt spid="12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/3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9" presetID="23" presetClass="entr" presetSubtype="288" fill="hold" grpId="0" nodeType="withEffect">
                                  <p:stCondLst>
                                    <p:cond delay="160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1" dur="500" fill="hold"/>
                                        <p:tgtEl>
                                          <p:spTgt spid="11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/3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2" dur="500" fill="hold"/>
                                        <p:tgtEl>
                                          <p:spTgt spid="11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/3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5" grpId="0" animBg="1"/>
      <p:bldP spid="116" grpId="0" animBg="1"/>
      <p:bldP spid="118" grpId="0" animBg="1"/>
      <p:bldP spid="119" grpId="0" animBg="1"/>
      <p:bldP spid="120" grpId="0" animBg="1"/>
      <p:bldP spid="122" grpId="0" animBg="1"/>
      <p:bldP spid="123" grpId="0" animBg="1"/>
      <p:bldP spid="124" grpId="0" animBg="1"/>
      <p:bldP spid="126" grpId="0" animBg="1"/>
      <p:bldP spid="127" grpId="0" animBg="1"/>
      <p:bldP spid="128" grpId="0" animBg="1"/>
      <p:bldP spid="130" grpId="0" animBg="1"/>
      <p:bldP spid="131" grpId="0" animBg="1"/>
      <p:bldP spid="133" grpId="0" animBg="1"/>
      <p:bldP spid="135" grpId="0" animBg="1"/>
      <p:bldP spid="136" grpId="0" animBg="1"/>
      <p:bldP spid="139" grpId="0" animBg="1"/>
    </p:bldLst>
  </p:timing>
  <p:extLst>
    <p:ext uri="{DCECCB84-F9BA-43D5-87BE-67443E8EF086}">
      <p15:sldGuideLst xmlns:p15="http://schemas.microsoft.com/office/powerpoint/2012/main">
        <p15:guide id="4" orient="horz" pos="4320">
          <p15:clr>
            <a:srgbClr val="FBAE40"/>
          </p15:clr>
        </p15:guide>
        <p15:guide id="5" pos="768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am-Morph-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6"/>
          <p:cNvSpPr>
            <a:spLocks noGrp="1"/>
          </p:cNvSpPr>
          <p:nvPr>
            <p:ph type="pic" sz="quarter" idx="43" hasCustomPrompt="1"/>
          </p:nvPr>
        </p:nvSpPr>
        <p:spPr>
          <a:xfrm>
            <a:off x="-10586795" y="1635523"/>
            <a:ext cx="2954199" cy="3586734"/>
          </a:xfrm>
          <a:prstGeom prst="rect">
            <a:avLst/>
          </a:prstGeom>
          <a:pattFill prst="pct60">
            <a:fgClr>
              <a:srgbClr val="FFFFFF"/>
            </a:fgClr>
            <a:bgClr>
              <a:srgbClr val="E6E9EE"/>
            </a:bgClr>
          </a:pattFill>
        </p:spPr>
        <p:txBody>
          <a:bodyPr anchor="ctr"/>
          <a:lstStyle>
            <a:lvl1pPr>
              <a:defRPr lang="en-US"/>
            </a:lvl1pPr>
          </a:lstStyle>
          <a:p>
            <a:pPr lvl="0"/>
            <a:r>
              <a:rPr lang="en-US"/>
              <a:t>5</a:t>
            </a:r>
          </a:p>
        </p:txBody>
      </p:sp>
      <p:sp>
        <p:nvSpPr>
          <p:cNvPr id="9" name="Picture Placeholder 6"/>
          <p:cNvSpPr>
            <a:spLocks noGrp="1"/>
          </p:cNvSpPr>
          <p:nvPr>
            <p:ph type="pic" sz="quarter" idx="42" hasCustomPrompt="1"/>
          </p:nvPr>
        </p:nvSpPr>
        <p:spPr>
          <a:xfrm>
            <a:off x="-7593872" y="1635524"/>
            <a:ext cx="2954199" cy="3586734"/>
          </a:xfrm>
          <a:prstGeom prst="rect">
            <a:avLst/>
          </a:prstGeom>
          <a:pattFill prst="pct60">
            <a:fgClr>
              <a:srgbClr val="FFFFFF"/>
            </a:fgClr>
            <a:bgClr>
              <a:srgbClr val="E6E9EE"/>
            </a:bgClr>
          </a:pattFill>
        </p:spPr>
        <p:txBody>
          <a:bodyPr anchor="ctr"/>
          <a:lstStyle>
            <a:lvl1pPr>
              <a:defRPr lang="en-US"/>
            </a:lvl1pPr>
          </a:lstStyle>
          <a:p>
            <a:pPr lvl="0"/>
            <a:r>
              <a:rPr lang="en-US"/>
              <a:t>4</a:t>
            </a:r>
          </a:p>
        </p:txBody>
      </p:sp>
      <p:sp>
        <p:nvSpPr>
          <p:cNvPr id="8" name="Picture Placeholder 6"/>
          <p:cNvSpPr>
            <a:spLocks noGrp="1"/>
          </p:cNvSpPr>
          <p:nvPr>
            <p:ph type="pic" sz="quarter" idx="41" hasCustomPrompt="1"/>
          </p:nvPr>
        </p:nvSpPr>
        <p:spPr>
          <a:xfrm>
            <a:off x="-4600949" y="1635524"/>
            <a:ext cx="2954200" cy="3586734"/>
          </a:xfrm>
          <a:prstGeom prst="rect">
            <a:avLst/>
          </a:prstGeom>
          <a:pattFill prst="pct60">
            <a:fgClr>
              <a:srgbClr val="FFFFFF"/>
            </a:fgClr>
            <a:bgClr>
              <a:srgbClr val="E6E9EE"/>
            </a:bgClr>
          </a:pattFill>
        </p:spPr>
        <p:txBody>
          <a:bodyPr anchor="ctr"/>
          <a:lstStyle>
            <a:lvl1pPr>
              <a:defRPr lang="en-US"/>
            </a:lvl1pPr>
          </a:lstStyle>
          <a:p>
            <a:pPr lvl="0"/>
            <a:r>
              <a:rPr lang="en-US"/>
              <a:t>3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40" hasCustomPrompt="1"/>
          </p:nvPr>
        </p:nvSpPr>
        <p:spPr>
          <a:xfrm>
            <a:off x="-1608026" y="1635524"/>
            <a:ext cx="2954200" cy="3586734"/>
          </a:xfrm>
          <a:prstGeom prst="rect">
            <a:avLst/>
          </a:prstGeom>
          <a:pattFill prst="pct60">
            <a:fgClr>
              <a:srgbClr val="FFFFFF"/>
            </a:fgClr>
            <a:bgClr>
              <a:srgbClr val="E6E9EE"/>
            </a:bgClr>
          </a:pattFill>
        </p:spPr>
        <p:txBody>
          <a:bodyPr anchor="ctr"/>
          <a:lstStyle>
            <a:lvl1pPr>
              <a:defRPr lang="en-US"/>
            </a:lvl1pPr>
          </a:lstStyle>
          <a:p>
            <a:pPr lvl="0"/>
            <a:r>
              <a:rPr lang="en-US"/>
              <a:t>2</a:t>
            </a:r>
          </a:p>
        </p:txBody>
      </p:sp>
      <p:sp>
        <p:nvSpPr>
          <p:cNvPr id="4" name="Picture Placeholder 6"/>
          <p:cNvSpPr>
            <a:spLocks noGrp="1"/>
          </p:cNvSpPr>
          <p:nvPr>
            <p:ph type="pic" sz="quarter" idx="39" hasCustomPrompt="1"/>
          </p:nvPr>
        </p:nvSpPr>
        <p:spPr>
          <a:xfrm>
            <a:off x="1384898" y="1635524"/>
            <a:ext cx="2954200" cy="3586734"/>
          </a:xfrm>
          <a:prstGeom prst="rect">
            <a:avLst/>
          </a:prstGeom>
          <a:pattFill prst="pct60">
            <a:fgClr>
              <a:srgbClr val="FFFFFF"/>
            </a:fgClr>
            <a:bgClr>
              <a:srgbClr val="E6E9EE"/>
            </a:bgClr>
          </a:pattFill>
        </p:spPr>
        <p:txBody>
          <a:bodyPr anchor="ctr"/>
          <a:lstStyle>
            <a:lvl1pPr>
              <a:defRPr lang="en-US"/>
            </a:lvl1pPr>
          </a:lstStyle>
          <a:p>
            <a:pPr lvl="0"/>
            <a:r>
              <a:rPr lang="en-US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1550175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8" Type="http://schemas.openxmlformats.org/officeDocument/2006/relationships/slideLayout" Target="../slideLayouts/slideLayout8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3.xml"/><Relationship Id="rId13" Type="http://schemas.openxmlformats.org/officeDocument/2006/relationships/slideLayout" Target="../slideLayouts/slideLayout48.xml"/><Relationship Id="rId3" Type="http://schemas.openxmlformats.org/officeDocument/2006/relationships/slideLayout" Target="../slideLayouts/slideLayout38.xml"/><Relationship Id="rId7" Type="http://schemas.openxmlformats.org/officeDocument/2006/relationships/slideLayout" Target="../slideLayouts/slideLayout42.xml"/><Relationship Id="rId12" Type="http://schemas.openxmlformats.org/officeDocument/2006/relationships/slideLayout" Target="../slideLayouts/slideLayout47.xml"/><Relationship Id="rId17" Type="http://schemas.openxmlformats.org/officeDocument/2006/relationships/theme" Target="../theme/theme2.xml"/><Relationship Id="rId2" Type="http://schemas.openxmlformats.org/officeDocument/2006/relationships/slideLayout" Target="../slideLayouts/slideLayout37.xml"/><Relationship Id="rId16" Type="http://schemas.openxmlformats.org/officeDocument/2006/relationships/slideLayout" Target="../slideLayouts/slideLayout51.xml"/><Relationship Id="rId1" Type="http://schemas.openxmlformats.org/officeDocument/2006/relationships/slideLayout" Target="../slideLayouts/slideLayout36.xml"/><Relationship Id="rId6" Type="http://schemas.openxmlformats.org/officeDocument/2006/relationships/slideLayout" Target="../slideLayouts/slideLayout41.xml"/><Relationship Id="rId11" Type="http://schemas.openxmlformats.org/officeDocument/2006/relationships/slideLayout" Target="../slideLayouts/slideLayout46.xml"/><Relationship Id="rId5" Type="http://schemas.openxmlformats.org/officeDocument/2006/relationships/slideLayout" Target="../slideLayouts/slideLayout40.xml"/><Relationship Id="rId15" Type="http://schemas.openxmlformats.org/officeDocument/2006/relationships/slideLayout" Target="../slideLayouts/slideLayout50.xml"/><Relationship Id="rId10" Type="http://schemas.openxmlformats.org/officeDocument/2006/relationships/slideLayout" Target="../slideLayouts/slideLayout45.xml"/><Relationship Id="rId4" Type="http://schemas.openxmlformats.org/officeDocument/2006/relationships/slideLayout" Target="../slideLayouts/slideLayout39.xml"/><Relationship Id="rId9" Type="http://schemas.openxmlformats.org/officeDocument/2006/relationships/slideLayout" Target="../slideLayouts/slideLayout44.xml"/><Relationship Id="rId14" Type="http://schemas.openxmlformats.org/officeDocument/2006/relationships/slideLayout" Target="../slideLayouts/slideLayout49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9.xml"/><Relationship Id="rId13" Type="http://schemas.openxmlformats.org/officeDocument/2006/relationships/theme" Target="../theme/theme3.xml"/><Relationship Id="rId18" Type="http://schemas.openxmlformats.org/officeDocument/2006/relationships/image" Target="../media/image3.emf"/><Relationship Id="rId3" Type="http://schemas.openxmlformats.org/officeDocument/2006/relationships/slideLayout" Target="../slideLayouts/slideLayout54.xml"/><Relationship Id="rId7" Type="http://schemas.openxmlformats.org/officeDocument/2006/relationships/slideLayout" Target="../slideLayouts/slideLayout58.xml"/><Relationship Id="rId12" Type="http://schemas.openxmlformats.org/officeDocument/2006/relationships/slideLayout" Target="../slideLayouts/slideLayout63.xml"/><Relationship Id="rId17" Type="http://schemas.openxmlformats.org/officeDocument/2006/relationships/oleObject" Target="../embeddings/oleObject3.bin"/><Relationship Id="rId2" Type="http://schemas.openxmlformats.org/officeDocument/2006/relationships/slideLayout" Target="../slideLayouts/slideLayout53.xml"/><Relationship Id="rId16" Type="http://schemas.openxmlformats.org/officeDocument/2006/relationships/tags" Target="../tags/tag9.xml"/><Relationship Id="rId1" Type="http://schemas.openxmlformats.org/officeDocument/2006/relationships/slideLayout" Target="../slideLayouts/slideLayout52.xml"/><Relationship Id="rId6" Type="http://schemas.openxmlformats.org/officeDocument/2006/relationships/slideLayout" Target="../slideLayouts/slideLayout57.xml"/><Relationship Id="rId11" Type="http://schemas.openxmlformats.org/officeDocument/2006/relationships/slideLayout" Target="../slideLayouts/slideLayout62.xml"/><Relationship Id="rId5" Type="http://schemas.openxmlformats.org/officeDocument/2006/relationships/slideLayout" Target="../slideLayouts/slideLayout56.xml"/><Relationship Id="rId15" Type="http://schemas.openxmlformats.org/officeDocument/2006/relationships/tags" Target="../tags/tag8.xml"/><Relationship Id="rId10" Type="http://schemas.openxmlformats.org/officeDocument/2006/relationships/slideLayout" Target="../slideLayouts/slideLayout61.xml"/><Relationship Id="rId4" Type="http://schemas.openxmlformats.org/officeDocument/2006/relationships/slideLayout" Target="../slideLayouts/slideLayout55.xml"/><Relationship Id="rId9" Type="http://schemas.openxmlformats.org/officeDocument/2006/relationships/slideLayout" Target="../slideLayouts/slideLayout60.xml"/><Relationship Id="rId14" Type="http://schemas.openxmlformats.org/officeDocument/2006/relationships/vmlDrawing" Target="../drawings/vmlDrawing3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671999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6" r:id="rId1"/>
    <p:sldLayoutId id="2147483757" r:id="rId2"/>
    <p:sldLayoutId id="2147483758" r:id="rId3"/>
    <p:sldLayoutId id="2147483759" r:id="rId4"/>
    <p:sldLayoutId id="2147483760" r:id="rId5"/>
    <p:sldLayoutId id="2147483761" r:id="rId6"/>
    <p:sldLayoutId id="2147483762" r:id="rId7"/>
    <p:sldLayoutId id="2147483763" r:id="rId8"/>
    <p:sldLayoutId id="2147483764" r:id="rId9"/>
    <p:sldLayoutId id="2147483765" r:id="rId10"/>
    <p:sldLayoutId id="2147483766" r:id="rId11"/>
    <p:sldLayoutId id="2147483767" r:id="rId12"/>
    <p:sldLayoutId id="2147483768" r:id="rId13"/>
    <p:sldLayoutId id="2147483769" r:id="rId14"/>
    <p:sldLayoutId id="2147483770" r:id="rId15"/>
    <p:sldLayoutId id="2147483771" r:id="rId16"/>
    <p:sldLayoutId id="2147483772" r:id="rId17"/>
    <p:sldLayoutId id="2147483773" r:id="rId18"/>
    <p:sldLayoutId id="2147483774" r:id="rId19"/>
    <p:sldLayoutId id="2147483775" r:id="rId20"/>
    <p:sldLayoutId id="2147483776" r:id="rId21"/>
    <p:sldLayoutId id="2147483777" r:id="rId22"/>
    <p:sldLayoutId id="2147483778" r:id="rId23"/>
    <p:sldLayoutId id="2147483779" r:id="rId24"/>
    <p:sldLayoutId id="2147483780" r:id="rId25"/>
    <p:sldLayoutId id="2147483781" r:id="rId26"/>
    <p:sldLayoutId id="2147483782" r:id="rId27"/>
    <p:sldLayoutId id="2147483783" r:id="rId28"/>
    <p:sldLayoutId id="2147483784" r:id="rId29"/>
    <p:sldLayoutId id="2147483785" r:id="rId30"/>
    <p:sldLayoutId id="2147483786" r:id="rId31"/>
    <p:sldLayoutId id="2147483787" r:id="rId32"/>
    <p:sldLayoutId id="2147483788" r:id="rId33"/>
    <p:sldLayoutId id="2147483817" r:id="rId34"/>
    <p:sldLayoutId id="2147483834" r:id="rId35"/>
  </p:sldLayoutIdLst>
  <p:txStyles>
    <p:titleStyle>
      <a:lvl1pPr algn="l" defTabSz="457109" rtl="0" eaLnBrk="1" latinLnBrk="0" hangingPunct="1">
        <a:spcBef>
          <a:spcPct val="0"/>
        </a:spcBef>
        <a:buNone/>
        <a:defRPr sz="4199" b="0" i="0" kern="1200">
          <a:solidFill>
            <a:schemeClr val="tx2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342831" indent="-342831" algn="l" defTabSz="457109" rtl="0" eaLnBrk="1" latinLnBrk="0" hangingPunct="1">
        <a:spcBef>
          <a:spcPts val="100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2000" b="0" i="0" kern="1200">
          <a:solidFill>
            <a:schemeClr val="tx1"/>
          </a:solidFill>
          <a:latin typeface="+mj-lt"/>
          <a:ea typeface="+mj-ea"/>
          <a:cs typeface="+mj-cs"/>
        </a:defRPr>
      </a:lvl1pPr>
      <a:lvl2pPr marL="742801" indent="-285693" algn="l" defTabSz="457109" rtl="0" eaLnBrk="1" latinLnBrk="0" hangingPunct="1">
        <a:spcBef>
          <a:spcPts val="100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1800" b="0" i="0" kern="1200">
          <a:solidFill>
            <a:schemeClr val="tx1"/>
          </a:solidFill>
          <a:latin typeface="+mj-lt"/>
          <a:ea typeface="+mj-ea"/>
          <a:cs typeface="+mj-cs"/>
        </a:defRPr>
      </a:lvl2pPr>
      <a:lvl3pPr marL="1142771" indent="-228554" algn="l" defTabSz="457109" rtl="0" eaLnBrk="1" latinLnBrk="0" hangingPunct="1">
        <a:spcBef>
          <a:spcPts val="100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1600" b="0" i="0" kern="1200">
          <a:solidFill>
            <a:schemeClr val="tx1"/>
          </a:solidFill>
          <a:latin typeface="+mj-lt"/>
          <a:ea typeface="+mj-ea"/>
          <a:cs typeface="+mj-cs"/>
        </a:defRPr>
      </a:lvl3pPr>
      <a:lvl4pPr marL="1599880" indent="-228554" algn="l" defTabSz="457109" rtl="0" eaLnBrk="1" latinLnBrk="0" hangingPunct="1">
        <a:spcBef>
          <a:spcPts val="100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1400" b="0" i="0" kern="1200">
          <a:solidFill>
            <a:schemeClr val="tx1"/>
          </a:solidFill>
          <a:latin typeface="+mj-lt"/>
          <a:ea typeface="+mj-ea"/>
          <a:cs typeface="+mj-cs"/>
        </a:defRPr>
      </a:lvl4pPr>
      <a:lvl5pPr marL="2056989" indent="-228554" algn="l" defTabSz="457109" rtl="0" eaLnBrk="1" latinLnBrk="0" hangingPunct="1">
        <a:spcBef>
          <a:spcPts val="100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1400" b="0" i="0" kern="1200">
          <a:solidFill>
            <a:schemeClr val="tx1"/>
          </a:solidFill>
          <a:latin typeface="+mj-lt"/>
          <a:ea typeface="+mj-ea"/>
          <a:cs typeface="+mj-cs"/>
        </a:defRPr>
      </a:lvl5pPr>
      <a:lvl6pPr marL="2505499" indent="-228554" algn="l" defTabSz="457109" rtl="0" eaLnBrk="1" latinLnBrk="0" hangingPunct="1">
        <a:spcBef>
          <a:spcPts val="100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1400" b="0" i="0" kern="1200">
          <a:solidFill>
            <a:schemeClr val="tx1"/>
          </a:solidFill>
          <a:latin typeface="+mj-lt"/>
          <a:ea typeface="+mj-ea"/>
          <a:cs typeface="+mj-cs"/>
        </a:defRPr>
      </a:lvl6pPr>
      <a:lvl7pPr marL="2971206" indent="-228554" algn="l" defTabSz="457109" rtl="0" eaLnBrk="1" latinLnBrk="0" hangingPunct="1">
        <a:spcBef>
          <a:spcPts val="100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1400" b="0" i="0" kern="1200">
          <a:solidFill>
            <a:schemeClr val="tx1"/>
          </a:solidFill>
          <a:latin typeface="+mj-lt"/>
          <a:ea typeface="+mj-ea"/>
          <a:cs typeface="+mj-cs"/>
        </a:defRPr>
      </a:lvl7pPr>
      <a:lvl8pPr marL="3428314" indent="-228554" algn="l" defTabSz="457109" rtl="0" eaLnBrk="1" latinLnBrk="0" hangingPunct="1">
        <a:spcBef>
          <a:spcPts val="100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1400" b="0" i="0" kern="1200">
          <a:solidFill>
            <a:schemeClr val="tx1"/>
          </a:solidFill>
          <a:latin typeface="+mj-lt"/>
          <a:ea typeface="+mj-ea"/>
          <a:cs typeface="+mj-cs"/>
        </a:defRPr>
      </a:lvl8pPr>
      <a:lvl9pPr marL="3885423" indent="-228554" algn="l" defTabSz="457109" rtl="0" eaLnBrk="1" latinLnBrk="0" hangingPunct="1">
        <a:spcBef>
          <a:spcPts val="100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1400" b="0" i="0" kern="1200">
          <a:solidFill>
            <a:schemeClr val="tx1"/>
          </a:solidFill>
          <a:latin typeface="+mj-lt"/>
          <a:ea typeface="+mj-ea"/>
          <a:cs typeface="+mj-cs"/>
        </a:defRPr>
      </a:lvl9pPr>
    </p:bodyStyle>
    <p:otherStyle>
      <a:defPPr>
        <a:defRPr lang="en-US"/>
      </a:defPPr>
      <a:lvl1pPr marL="0" algn="l" defTabSz="4571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09" algn="l" defTabSz="4571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17" algn="l" defTabSz="4571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26" algn="l" defTabSz="4571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34" algn="l" defTabSz="4571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543" algn="l" defTabSz="4571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651" algn="l" defTabSz="4571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760" algn="l" defTabSz="4571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868" algn="l" defTabSz="4571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764DE79-268F-4C1A-8933-263129D2AF90}" type="datetimeFigureOut">
              <a:rPr lang="en-US" dirty="0"/>
              <a:t>12/10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F63A3B-78C7-47BE-AE5E-E10140E04643}" type="slidenum">
              <a:rPr lang="en-US" dirty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40926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2" r:id="rId1"/>
    <p:sldLayoutId id="2147483743" r:id="rId2"/>
    <p:sldLayoutId id="2147483744" r:id="rId3"/>
    <p:sldLayoutId id="2147483745" r:id="rId4"/>
    <p:sldLayoutId id="2147483746" r:id="rId5"/>
    <p:sldLayoutId id="2147483747" r:id="rId6"/>
    <p:sldLayoutId id="2147483748" r:id="rId7"/>
    <p:sldLayoutId id="2147483749" r:id="rId8"/>
    <p:sldLayoutId id="2147483750" r:id="rId9"/>
    <p:sldLayoutId id="2147483751" r:id="rId10"/>
    <p:sldLayoutId id="2147483752" r:id="rId11"/>
    <p:sldLayoutId id="2147483816" r:id="rId12"/>
    <p:sldLayoutId id="2147483753" r:id="rId13"/>
    <p:sldLayoutId id="2147483754" r:id="rId14"/>
    <p:sldLayoutId id="2147483818" r:id="rId15"/>
    <p:sldLayoutId id="2147483833" r:id="rId16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486220181"/>
              </p:ext>
            </p:extLst>
          </p:nvPr>
        </p:nvGraphicFramePr>
        <p:xfrm>
          <a:off x="2119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17" imgW="270" imgH="270" progId="TCLayout.ActiveDocument.1">
                  <p:embed/>
                </p:oleObj>
              </mc:Choice>
              <mc:Fallback>
                <p:oleObj name="think-cell Slide" r:id="rId17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2119" y="1590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E026CB40-4C3F-421B-8183-C4443D742B6C}"/>
              </a:ext>
            </a:extLst>
          </p:cNvPr>
          <p:cNvSpPr/>
          <p:nvPr userDrawn="1">
            <p:custDataLst>
              <p:tags r:id="rId16"/>
            </p:custDataLst>
          </p:nvPr>
        </p:nvSpPr>
        <p:spPr>
          <a:xfrm>
            <a:off x="0" y="0"/>
            <a:ext cx="195385" cy="158750"/>
          </a:xfrm>
          <a:prstGeom prst="rect">
            <a:avLst/>
          </a:prstGeom>
          <a:solidFill>
            <a:schemeClr val="accent3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lnSpc>
                <a:spcPct val="90000"/>
              </a:lnSpc>
              <a:spcBef>
                <a:spcPts val="900"/>
              </a:spcBef>
            </a:pPr>
            <a:endParaRPr lang="en-US" sz="2800" b="1" i="0" baseline="0" dirty="0">
              <a:solidFill>
                <a:schemeClr val="bg1"/>
              </a:solidFill>
              <a:latin typeface="Arial" pitchFamily="34" charset="0"/>
              <a:ea typeface="+mj-ea"/>
              <a:cs typeface="Arial" pitchFamily="34" charset="0"/>
              <a:sym typeface="Arial" panose="020B0604020202020204" pitchFamily="34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26010" y="1426674"/>
            <a:ext cx="11521440" cy="1338828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/>
              <a:t>Text on first level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1522524" y="6594953"/>
            <a:ext cx="353568" cy="138499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rtlCol="0" anchor="b" anchorCtr="0">
            <a:noAutofit/>
          </a:bodyPr>
          <a:lstStyle/>
          <a:p>
            <a:pPr algn="r"/>
            <a:fld id="{6CE8C368-3382-4C28-AE75-DF7C05ACA19D}" type="slidenum">
              <a:rPr lang="en-US" sz="900">
                <a:solidFill>
                  <a:srgbClr val="ADABA1"/>
                </a:solidFill>
              </a:rPr>
              <a:pPr algn="r"/>
              <a:t>‹#›</a:t>
            </a:fld>
            <a:endParaRPr lang="en-US" sz="900">
              <a:solidFill>
                <a:srgbClr val="ADABA1"/>
              </a:solidFill>
            </a:endParaRPr>
          </a:p>
        </p:txBody>
      </p:sp>
      <p:sp>
        <p:nvSpPr>
          <p:cNvPr id="12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280560" y="303743"/>
            <a:ext cx="11630880" cy="3877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algn="l" defTabSz="883444" rtl="0" eaLnBrk="1" fontAlgn="base" hangingPunct="1">
              <a:spcBef>
                <a:spcPct val="0"/>
              </a:spcBef>
              <a:spcAft>
                <a:spcPct val="0"/>
              </a:spcAft>
              <a:buNone/>
              <a:tabLst>
                <a:tab pos="266286" algn="l"/>
              </a:tabLst>
            </a:pPr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409604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0" r:id="rId1"/>
    <p:sldLayoutId id="2147483821" r:id="rId2"/>
    <p:sldLayoutId id="2147483822" r:id="rId3"/>
    <p:sldLayoutId id="2147483823" r:id="rId4"/>
    <p:sldLayoutId id="2147483824" r:id="rId5"/>
    <p:sldLayoutId id="2147483825" r:id="rId6"/>
    <p:sldLayoutId id="2147483826" r:id="rId7"/>
    <p:sldLayoutId id="2147483828" r:id="rId8"/>
    <p:sldLayoutId id="2147483829" r:id="rId9"/>
    <p:sldLayoutId id="2147483830" r:id="rId10"/>
    <p:sldLayoutId id="2147483831" r:id="rId11"/>
    <p:sldLayoutId id="2147483832" r:id="rId12"/>
  </p:sldLayoutIdLst>
  <p:hf sldNum="0" hdr="0" ftr="0" dt="0"/>
  <p:txStyles>
    <p:titleStyle>
      <a:lvl1pPr marL="0" indent="0"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 baseline="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180000" indent="-180000" algn="l" defTabSz="914400" rtl="0" eaLnBrk="1" latinLnBrk="0" hangingPunct="1">
        <a:lnSpc>
          <a:spcPct val="90000"/>
        </a:lnSpc>
        <a:spcBef>
          <a:spcPts val="1400"/>
        </a:spcBef>
        <a:buClr>
          <a:schemeClr val="accent1"/>
        </a:buClr>
        <a:buSzPct val="100000"/>
        <a:buFont typeface="Arial" pitchFamily="34" charset="0"/>
        <a:buChar char="■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310896" indent="-128016" algn="l" defTabSz="914400" rtl="0" eaLnBrk="1" latinLnBrk="0" hangingPunct="1">
        <a:lnSpc>
          <a:spcPct val="90000"/>
        </a:lnSpc>
        <a:spcBef>
          <a:spcPts val="900"/>
        </a:spcBef>
        <a:buClr>
          <a:schemeClr val="accent1"/>
        </a:buClr>
        <a:buFont typeface="Arial" pitchFamily="34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489600" indent="-180000" algn="l" defTabSz="914400" rtl="0" eaLnBrk="1" latinLnBrk="0" hangingPunct="1">
        <a:lnSpc>
          <a:spcPct val="90000"/>
        </a:lnSpc>
        <a:spcBef>
          <a:spcPts val="600"/>
        </a:spcBef>
        <a:buClr>
          <a:schemeClr val="accent1"/>
        </a:buClr>
        <a:buFont typeface="Arial" pitchFamily="34" charset="0"/>
        <a:buChar char="–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633600" indent="-137160" algn="l" defTabSz="914400" rtl="0" eaLnBrk="1" latinLnBrk="0" hangingPunct="1">
        <a:lnSpc>
          <a:spcPct val="90000"/>
        </a:lnSpc>
        <a:spcBef>
          <a:spcPts val="200"/>
        </a:spcBef>
        <a:buClr>
          <a:schemeClr val="accent1"/>
        </a:buClr>
        <a:buFont typeface="Arial" pitchFamily="34" charset="0"/>
        <a:buChar char="-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70400" indent="-136800" algn="l" defTabSz="914400" rtl="0" eaLnBrk="1" latinLnBrk="0" hangingPunct="1">
        <a:lnSpc>
          <a:spcPct val="90000"/>
        </a:lnSpc>
        <a:spcBef>
          <a:spcPts val="100"/>
        </a:spcBef>
        <a:buClr>
          <a:schemeClr val="accent1"/>
        </a:buClr>
        <a:buFont typeface="Arial" pitchFamily="34" charset="0"/>
        <a:buChar char="-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hyperlink" Target="https://www.rank2traffic.com/craigslist.org" TargetMode="External"/><Relationship Id="rId2" Type="http://schemas.openxmlformats.org/officeDocument/2006/relationships/tags" Target="../tags/tag12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8.tiff"/><Relationship Id="rId5" Type="http://schemas.openxmlformats.org/officeDocument/2006/relationships/image" Target="../media/image7.emf"/><Relationship Id="rId4" Type="http://schemas.openxmlformats.org/officeDocument/2006/relationships/oleObject" Target="../embeddings/oleObject5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2" Type="http://schemas.openxmlformats.org/officeDocument/2006/relationships/tags" Target="../tags/tag26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8.emf"/><Relationship Id="rId5" Type="http://schemas.openxmlformats.org/officeDocument/2006/relationships/oleObject" Target="../embeddings/oleObject12.bin"/><Relationship Id="rId4" Type="http://schemas.openxmlformats.org/officeDocument/2006/relationships/slideLayout" Target="../slideLayouts/slideLayout51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emf"/><Relationship Id="rId3" Type="http://schemas.openxmlformats.org/officeDocument/2006/relationships/tags" Target="../tags/tag29.xml"/><Relationship Id="rId7" Type="http://schemas.openxmlformats.org/officeDocument/2006/relationships/oleObject" Target="../embeddings/oleObject13.bin"/><Relationship Id="rId12" Type="http://schemas.openxmlformats.org/officeDocument/2006/relationships/image" Target="../media/image33.svg"/><Relationship Id="rId2" Type="http://schemas.openxmlformats.org/officeDocument/2006/relationships/tags" Target="../tags/tag28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29.svg"/><Relationship Id="rId11" Type="http://schemas.openxmlformats.org/officeDocument/2006/relationships/image" Target="../media/image32.png"/><Relationship Id="rId5" Type="http://schemas.openxmlformats.org/officeDocument/2006/relationships/image" Target="../media/image28.png"/><Relationship Id="rId10" Type="http://schemas.openxmlformats.org/officeDocument/2006/relationships/image" Target="../media/image31.svg"/><Relationship Id="rId4" Type="http://schemas.openxmlformats.org/officeDocument/2006/relationships/slideLayout" Target="../slideLayouts/slideLayout41.xml"/><Relationship Id="rId9" Type="http://schemas.openxmlformats.org/officeDocument/2006/relationships/image" Target="../media/image30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0.xml"/><Relationship Id="rId4" Type="http://schemas.openxmlformats.org/officeDocument/2006/relationships/image" Target="../media/image35.sv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2" Type="http://schemas.openxmlformats.org/officeDocument/2006/relationships/tags" Target="../tags/tag30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8.emf"/><Relationship Id="rId5" Type="http://schemas.openxmlformats.org/officeDocument/2006/relationships/oleObject" Target="../embeddings/oleObject14.bin"/><Relationship Id="rId4" Type="http://schemas.openxmlformats.org/officeDocument/2006/relationships/slideLayout" Target="../slideLayouts/slideLayout51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7.xml"/><Relationship Id="rId4" Type="http://schemas.openxmlformats.org/officeDocument/2006/relationships/image" Target="../media/image37.sv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48.xml"/><Relationship Id="rId6" Type="http://schemas.openxmlformats.org/officeDocument/2006/relationships/image" Target="../media/image42.png"/><Relationship Id="rId5" Type="http://schemas.openxmlformats.org/officeDocument/2006/relationships/image" Target="../media/image41.png"/><Relationship Id="rId4" Type="http://schemas.openxmlformats.org/officeDocument/2006/relationships/image" Target="../media/image40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8.jpeg"/><Relationship Id="rId13" Type="http://schemas.openxmlformats.org/officeDocument/2006/relationships/image" Target="../media/image53.png"/><Relationship Id="rId18" Type="http://schemas.openxmlformats.org/officeDocument/2006/relationships/image" Target="../media/image58.png"/><Relationship Id="rId3" Type="http://schemas.microsoft.com/office/2007/relationships/hdphoto" Target="../media/hdphoto3.wdp"/><Relationship Id="rId7" Type="http://schemas.openxmlformats.org/officeDocument/2006/relationships/image" Target="../media/image47.png"/><Relationship Id="rId12" Type="http://schemas.openxmlformats.org/officeDocument/2006/relationships/image" Target="../media/image52.png"/><Relationship Id="rId17" Type="http://schemas.openxmlformats.org/officeDocument/2006/relationships/image" Target="../media/image57.png"/><Relationship Id="rId2" Type="http://schemas.openxmlformats.org/officeDocument/2006/relationships/image" Target="../media/image43.png"/><Relationship Id="rId16" Type="http://schemas.openxmlformats.org/officeDocument/2006/relationships/image" Target="../media/image56.png"/><Relationship Id="rId1" Type="http://schemas.openxmlformats.org/officeDocument/2006/relationships/slideLayout" Target="../slideLayouts/slideLayout37.xml"/><Relationship Id="rId6" Type="http://schemas.openxmlformats.org/officeDocument/2006/relationships/image" Target="../media/image46.svg"/><Relationship Id="rId11" Type="http://schemas.openxmlformats.org/officeDocument/2006/relationships/image" Target="../media/image51.png"/><Relationship Id="rId5" Type="http://schemas.openxmlformats.org/officeDocument/2006/relationships/image" Target="../media/image45.png"/><Relationship Id="rId15" Type="http://schemas.openxmlformats.org/officeDocument/2006/relationships/image" Target="../media/image55.png"/><Relationship Id="rId10" Type="http://schemas.openxmlformats.org/officeDocument/2006/relationships/image" Target="../media/image50.png"/><Relationship Id="rId19" Type="http://schemas.openxmlformats.org/officeDocument/2006/relationships/image" Target="../media/image59.png"/><Relationship Id="rId4" Type="http://schemas.openxmlformats.org/officeDocument/2006/relationships/image" Target="../media/image44.png"/><Relationship Id="rId9" Type="http://schemas.openxmlformats.org/officeDocument/2006/relationships/image" Target="../media/image49.png"/><Relationship Id="rId14" Type="http://schemas.openxmlformats.org/officeDocument/2006/relationships/image" Target="../media/image54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6.png"/><Relationship Id="rId3" Type="http://schemas.openxmlformats.org/officeDocument/2006/relationships/image" Target="../media/image61.svg"/><Relationship Id="rId7" Type="http://schemas.openxmlformats.org/officeDocument/2006/relationships/image" Target="../media/image65.svg"/><Relationship Id="rId2" Type="http://schemas.openxmlformats.org/officeDocument/2006/relationships/image" Target="../media/image60.png"/><Relationship Id="rId1" Type="http://schemas.openxmlformats.org/officeDocument/2006/relationships/slideLayout" Target="../slideLayouts/slideLayout37.xml"/><Relationship Id="rId6" Type="http://schemas.openxmlformats.org/officeDocument/2006/relationships/image" Target="../media/image64.png"/><Relationship Id="rId5" Type="http://schemas.openxmlformats.org/officeDocument/2006/relationships/image" Target="../media/image63.svg"/><Relationship Id="rId10" Type="http://schemas.openxmlformats.org/officeDocument/2006/relationships/hyperlink" Target="https://www.rank2traffic.com/craigslist.org" TargetMode="External"/><Relationship Id="rId4" Type="http://schemas.openxmlformats.org/officeDocument/2006/relationships/image" Target="../media/image62.png"/><Relationship Id="rId9" Type="http://schemas.openxmlformats.org/officeDocument/2006/relationships/image" Target="../media/image67.sv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tags" Target="../tags/tag32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8.emf"/><Relationship Id="rId5" Type="http://schemas.openxmlformats.org/officeDocument/2006/relationships/oleObject" Target="../embeddings/oleObject15.bin"/><Relationship Id="rId4" Type="http://schemas.openxmlformats.org/officeDocument/2006/relationships/slideLayout" Target="../slideLayouts/slideLayout51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72.png"/><Relationship Id="rId3" Type="http://schemas.openxmlformats.org/officeDocument/2006/relationships/chart" Target="../charts/chart2.xml"/><Relationship Id="rId7" Type="http://schemas.openxmlformats.org/officeDocument/2006/relationships/image" Target="../media/image71.sv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7.xml"/><Relationship Id="rId6" Type="http://schemas.openxmlformats.org/officeDocument/2006/relationships/image" Target="../media/image70.png"/><Relationship Id="rId11" Type="http://schemas.openxmlformats.org/officeDocument/2006/relationships/image" Target="../media/image75.svg"/><Relationship Id="rId5" Type="http://schemas.openxmlformats.org/officeDocument/2006/relationships/image" Target="../media/image69.svg"/><Relationship Id="rId10" Type="http://schemas.openxmlformats.org/officeDocument/2006/relationships/image" Target="../media/image74.png"/><Relationship Id="rId4" Type="http://schemas.openxmlformats.org/officeDocument/2006/relationships/image" Target="../media/image68.png"/><Relationship Id="rId9" Type="http://schemas.openxmlformats.org/officeDocument/2006/relationships/image" Target="../media/image73.sv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jpg"/><Relationship Id="rId13" Type="http://schemas.microsoft.com/office/2007/relationships/hdphoto" Target="../media/hdphoto1.wdp"/><Relationship Id="rId3" Type="http://schemas.openxmlformats.org/officeDocument/2006/relationships/tags" Target="../tags/tag14.xml"/><Relationship Id="rId7" Type="http://schemas.openxmlformats.org/officeDocument/2006/relationships/image" Target="../media/image9.emf"/><Relationship Id="rId12" Type="http://schemas.openxmlformats.org/officeDocument/2006/relationships/image" Target="../media/image14.png"/><Relationship Id="rId2" Type="http://schemas.openxmlformats.org/officeDocument/2006/relationships/tags" Target="../tags/tag13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6.bin"/><Relationship Id="rId11" Type="http://schemas.openxmlformats.org/officeDocument/2006/relationships/image" Target="../media/image13.jpg"/><Relationship Id="rId5" Type="http://schemas.openxmlformats.org/officeDocument/2006/relationships/notesSlide" Target="../notesSlides/notesSlide1.xml"/><Relationship Id="rId15" Type="http://schemas.openxmlformats.org/officeDocument/2006/relationships/image" Target="../media/image16.png"/><Relationship Id="rId10" Type="http://schemas.openxmlformats.org/officeDocument/2006/relationships/image" Target="../media/image12.jpeg"/><Relationship Id="rId4" Type="http://schemas.openxmlformats.org/officeDocument/2006/relationships/slideLayout" Target="../slideLayouts/slideLayout36.xml"/><Relationship Id="rId9" Type="http://schemas.openxmlformats.org/officeDocument/2006/relationships/image" Target="../media/image11.jpeg"/><Relationship Id="rId14" Type="http://schemas.openxmlformats.org/officeDocument/2006/relationships/image" Target="../media/image15.png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7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7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1.svg"/><Relationship Id="rId3" Type="http://schemas.openxmlformats.org/officeDocument/2006/relationships/image" Target="../media/image76.png"/><Relationship Id="rId7" Type="http://schemas.openxmlformats.org/officeDocument/2006/relationships/image" Target="../media/image80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7.xml"/><Relationship Id="rId6" Type="http://schemas.openxmlformats.org/officeDocument/2006/relationships/image" Target="../media/image79.svg"/><Relationship Id="rId5" Type="http://schemas.openxmlformats.org/officeDocument/2006/relationships/image" Target="../media/image78.png"/><Relationship Id="rId10" Type="http://schemas.openxmlformats.org/officeDocument/2006/relationships/image" Target="../media/image83.svg"/><Relationship Id="rId4" Type="http://schemas.openxmlformats.org/officeDocument/2006/relationships/image" Target="../media/image77.svg"/><Relationship Id="rId9" Type="http://schemas.openxmlformats.org/officeDocument/2006/relationships/image" Target="../media/image82.png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4.png"/><Relationship Id="rId1" Type="http://schemas.openxmlformats.org/officeDocument/2006/relationships/slideLayout" Target="../slideLayouts/slideLayout50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7.xml"/><Relationship Id="rId2" Type="http://schemas.openxmlformats.org/officeDocument/2006/relationships/tags" Target="../tags/tag34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85.emf"/><Relationship Id="rId4" Type="http://schemas.openxmlformats.org/officeDocument/2006/relationships/oleObject" Target="../embeddings/oleObject16.bin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tags" Target="../tags/tag41.xml"/><Relationship Id="rId13" Type="http://schemas.openxmlformats.org/officeDocument/2006/relationships/tags" Target="../tags/tag46.xml"/><Relationship Id="rId18" Type="http://schemas.openxmlformats.org/officeDocument/2006/relationships/slideLayout" Target="../slideLayouts/slideLayout37.xml"/><Relationship Id="rId3" Type="http://schemas.openxmlformats.org/officeDocument/2006/relationships/tags" Target="../tags/tag36.xml"/><Relationship Id="rId21" Type="http://schemas.openxmlformats.org/officeDocument/2006/relationships/oleObject" Target="../embeddings/oleObject17.bin"/><Relationship Id="rId7" Type="http://schemas.openxmlformats.org/officeDocument/2006/relationships/tags" Target="../tags/tag40.xml"/><Relationship Id="rId12" Type="http://schemas.openxmlformats.org/officeDocument/2006/relationships/tags" Target="../tags/tag45.xml"/><Relationship Id="rId17" Type="http://schemas.openxmlformats.org/officeDocument/2006/relationships/tags" Target="../tags/tag50.xml"/><Relationship Id="rId2" Type="http://schemas.openxmlformats.org/officeDocument/2006/relationships/tags" Target="../tags/tag35.xml"/><Relationship Id="rId16" Type="http://schemas.openxmlformats.org/officeDocument/2006/relationships/tags" Target="../tags/tag49.xml"/><Relationship Id="rId20" Type="http://schemas.openxmlformats.org/officeDocument/2006/relationships/chart" Target="../charts/chart3.xml"/><Relationship Id="rId1" Type="http://schemas.openxmlformats.org/officeDocument/2006/relationships/vmlDrawing" Target="../drawings/vmlDrawing17.vml"/><Relationship Id="rId6" Type="http://schemas.openxmlformats.org/officeDocument/2006/relationships/tags" Target="../tags/tag39.xml"/><Relationship Id="rId11" Type="http://schemas.openxmlformats.org/officeDocument/2006/relationships/tags" Target="../tags/tag44.xml"/><Relationship Id="rId5" Type="http://schemas.openxmlformats.org/officeDocument/2006/relationships/tags" Target="../tags/tag38.xml"/><Relationship Id="rId15" Type="http://schemas.openxmlformats.org/officeDocument/2006/relationships/tags" Target="../tags/tag48.xml"/><Relationship Id="rId10" Type="http://schemas.openxmlformats.org/officeDocument/2006/relationships/tags" Target="../tags/tag43.xml"/><Relationship Id="rId19" Type="http://schemas.openxmlformats.org/officeDocument/2006/relationships/notesSlide" Target="../notesSlides/notesSlide9.xml"/><Relationship Id="rId4" Type="http://schemas.openxmlformats.org/officeDocument/2006/relationships/tags" Target="../tags/tag37.xml"/><Relationship Id="rId9" Type="http://schemas.openxmlformats.org/officeDocument/2006/relationships/tags" Target="../tags/tag42.xml"/><Relationship Id="rId14" Type="http://schemas.openxmlformats.org/officeDocument/2006/relationships/tags" Target="../tags/tag47.xml"/><Relationship Id="rId22" Type="http://schemas.openxmlformats.org/officeDocument/2006/relationships/image" Target="../media/image2.emf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6.png"/><Relationship Id="rId3" Type="http://schemas.openxmlformats.org/officeDocument/2006/relationships/tags" Target="../tags/tag52.xml"/><Relationship Id="rId7" Type="http://schemas.openxmlformats.org/officeDocument/2006/relationships/image" Target="../media/image2.emf"/><Relationship Id="rId2" Type="http://schemas.openxmlformats.org/officeDocument/2006/relationships/tags" Target="../tags/tag51.xml"/><Relationship Id="rId1" Type="http://schemas.openxmlformats.org/officeDocument/2006/relationships/vmlDrawing" Target="../drawings/vmlDrawing18.vml"/><Relationship Id="rId6" Type="http://schemas.openxmlformats.org/officeDocument/2006/relationships/oleObject" Target="../embeddings/oleObject18.bin"/><Relationship Id="rId5" Type="http://schemas.openxmlformats.org/officeDocument/2006/relationships/notesSlide" Target="../notesSlides/notesSlide10.xml"/><Relationship Id="rId4" Type="http://schemas.openxmlformats.org/officeDocument/2006/relationships/slideLayout" Target="../slideLayouts/slideLayout3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gif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2" Type="http://schemas.openxmlformats.org/officeDocument/2006/relationships/tags" Target="../tags/tag15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8.emf"/><Relationship Id="rId5" Type="http://schemas.openxmlformats.org/officeDocument/2006/relationships/oleObject" Target="../embeddings/oleObject7.bin"/><Relationship Id="rId4" Type="http://schemas.openxmlformats.org/officeDocument/2006/relationships/slideLayout" Target="../slideLayouts/slideLayout3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7" Type="http://schemas.microsoft.com/office/2007/relationships/hdphoto" Target="../media/hdphoto2.wdp"/><Relationship Id="rId2" Type="http://schemas.openxmlformats.org/officeDocument/2006/relationships/slideLayout" Target="../slideLayouts/slideLayout41.xml"/><Relationship Id="rId1" Type="http://schemas.openxmlformats.org/officeDocument/2006/relationships/tags" Target="../tags/tag17.xml"/><Relationship Id="rId6" Type="http://schemas.openxmlformats.org/officeDocument/2006/relationships/image" Target="../media/image20.png"/><Relationship Id="rId5" Type="http://schemas.openxmlformats.org/officeDocument/2006/relationships/image" Target="../media/image19.png"/><Relationship Id="rId4" Type="http://schemas.microsoft.com/office/2007/relationships/hdphoto" Target="../media/hdphoto1.wdp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tags" Target="../tags/tag19.xml"/><Relationship Id="rId7" Type="http://schemas.openxmlformats.org/officeDocument/2006/relationships/image" Target="../media/image22.png"/><Relationship Id="rId2" Type="http://schemas.openxmlformats.org/officeDocument/2006/relationships/tags" Target="../tags/tag18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21.emf"/><Relationship Id="rId5" Type="http://schemas.openxmlformats.org/officeDocument/2006/relationships/oleObject" Target="../embeddings/oleObject8.bin"/><Relationship Id="rId4" Type="http://schemas.openxmlformats.org/officeDocument/2006/relationships/slideLayout" Target="../slideLayouts/slideLayout37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.xml"/><Relationship Id="rId3" Type="http://schemas.openxmlformats.org/officeDocument/2006/relationships/tags" Target="../tags/tag21.xml"/><Relationship Id="rId7" Type="http://schemas.openxmlformats.org/officeDocument/2006/relationships/image" Target="../media/image25.png"/><Relationship Id="rId2" Type="http://schemas.openxmlformats.org/officeDocument/2006/relationships/tags" Target="../tags/tag2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24.emf"/><Relationship Id="rId5" Type="http://schemas.openxmlformats.org/officeDocument/2006/relationships/oleObject" Target="../embeddings/oleObject9.bin"/><Relationship Id="rId4" Type="http://schemas.openxmlformats.org/officeDocument/2006/relationships/slideLayout" Target="../slideLayouts/slideLayout3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8.emf"/><Relationship Id="rId5" Type="http://schemas.openxmlformats.org/officeDocument/2006/relationships/oleObject" Target="../embeddings/oleObject10.bin"/><Relationship Id="rId4" Type="http://schemas.openxmlformats.org/officeDocument/2006/relationships/slideLayout" Target="../slideLayouts/slideLayout5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2" Type="http://schemas.openxmlformats.org/officeDocument/2006/relationships/tags" Target="../tags/tag24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26.emf"/><Relationship Id="rId5" Type="http://schemas.openxmlformats.org/officeDocument/2006/relationships/oleObject" Target="../embeddings/oleObject11.bin"/><Relationship Id="rId4" Type="http://schemas.openxmlformats.org/officeDocument/2006/relationships/slideLayout" Target="../slideLayouts/slideLayout3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D8506FE-0D8C-5042-BD8A-38967C018BB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D8506FE-0D8C-5042-BD8A-38967C018B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>
            <a:extLst>
              <a:ext uri="{FF2B5EF4-FFF2-40B4-BE49-F238E27FC236}">
                <a16:creationId xmlns:a16="http://schemas.microsoft.com/office/drawing/2014/main" id="{E9F69CC4-B714-AD45-9656-A56EDED2CD42}"/>
              </a:ext>
            </a:extLst>
          </p:cNvPr>
          <p:cNvPicPr>
            <a:picLocks noChangeAspect="1"/>
          </p:cNvPicPr>
          <p:nvPr/>
        </p:nvPicPr>
        <p:blipFill>
          <a:blip r:embed="rId6">
            <a:alphaModFix amt="35000"/>
          </a:blip>
          <a:stretch>
            <a:fillRect/>
          </a:stretch>
        </p:blipFill>
        <p:spPr>
          <a:xfrm>
            <a:off x="-1" y="0"/>
            <a:ext cx="12192001" cy="6858000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793EB3F5-1326-CC4F-9370-CAB0C5432A07}"/>
              </a:ext>
            </a:extLst>
          </p:cNvPr>
          <p:cNvSpPr/>
          <p:nvPr/>
        </p:nvSpPr>
        <p:spPr>
          <a:xfrm>
            <a:off x="-314698" y="872837"/>
            <a:ext cx="12607637" cy="215438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000" b="1" dirty="0">
                <a:solidFill>
                  <a:srgbClr val="ED7D31"/>
                </a:solidFill>
              </a:rPr>
              <a:t>Do you know??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529F162A-3457-F14D-9F0D-D1057E2AF94C}"/>
              </a:ext>
            </a:extLst>
          </p:cNvPr>
          <p:cNvSpPr/>
          <p:nvPr/>
        </p:nvSpPr>
        <p:spPr>
          <a:xfrm>
            <a:off x="-1" y="2351809"/>
            <a:ext cx="12607637" cy="215438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000" dirty="0">
              <a:solidFill>
                <a:schemeClr val="tx1"/>
              </a:solidFill>
            </a:endParaRPr>
          </a:p>
          <a:p>
            <a:pPr algn="ctr"/>
            <a:r>
              <a:rPr lang="en-US" sz="4000" dirty="0">
                <a:solidFill>
                  <a:srgbClr val="3E4D62"/>
                </a:solidFill>
              </a:rPr>
              <a:t>You are missing out on </a:t>
            </a:r>
            <a:r>
              <a:rPr lang="en-US" sz="4800" b="1" dirty="0">
                <a:solidFill>
                  <a:srgbClr val="3E4D62"/>
                </a:solidFill>
              </a:rPr>
              <a:t>850M</a:t>
            </a:r>
            <a:r>
              <a:rPr lang="en-US" sz="4800" baseline="32000" dirty="0">
                <a:solidFill>
                  <a:srgbClr val="3E4D62"/>
                </a:solidFill>
              </a:rPr>
              <a:t>1</a:t>
            </a:r>
            <a:r>
              <a:rPr lang="en-US" sz="4800" b="1" dirty="0">
                <a:solidFill>
                  <a:srgbClr val="3E4D62"/>
                </a:solidFill>
              </a:rPr>
              <a:t> pageviews!!!</a:t>
            </a:r>
          </a:p>
          <a:p>
            <a:pPr algn="ctr"/>
            <a:r>
              <a:rPr lang="en-US" sz="3600" dirty="0">
                <a:solidFill>
                  <a:srgbClr val="6B6B6B"/>
                </a:solidFill>
              </a:rPr>
              <a:t>and</a:t>
            </a:r>
            <a:endParaRPr lang="en-US" sz="4000" dirty="0">
              <a:solidFill>
                <a:srgbClr val="6B6B6B"/>
              </a:solidFill>
            </a:endParaRPr>
          </a:p>
          <a:p>
            <a:pPr algn="ctr"/>
            <a:r>
              <a:rPr lang="en-US" sz="4800" b="1" dirty="0">
                <a:solidFill>
                  <a:srgbClr val="3E4D62"/>
                </a:solidFill>
              </a:rPr>
              <a:t>1/3 </a:t>
            </a:r>
            <a:r>
              <a:rPr lang="en-US" sz="4000" dirty="0">
                <a:solidFill>
                  <a:srgbClr val="3E4D62"/>
                </a:solidFill>
              </a:rPr>
              <a:t>of visitors</a:t>
            </a:r>
            <a:r>
              <a:rPr lang="en-US" sz="4000" baseline="32000" dirty="0">
                <a:solidFill>
                  <a:srgbClr val="3E4D62"/>
                </a:solidFill>
              </a:rPr>
              <a:t>1</a:t>
            </a:r>
            <a:r>
              <a:rPr lang="en-US" sz="4000" dirty="0">
                <a:solidFill>
                  <a:srgbClr val="3E4D62"/>
                </a:solidFill>
              </a:rPr>
              <a:t> close the website after 1 view!!!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5730B89-D3CC-4BDB-BD12-29DCF15C32B0}"/>
              </a:ext>
            </a:extLst>
          </p:cNvPr>
          <p:cNvSpPr txBox="1"/>
          <p:nvPr/>
        </p:nvSpPr>
        <p:spPr>
          <a:xfrm>
            <a:off x="9985897" y="6642556"/>
            <a:ext cx="2307042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dirty="0"/>
              <a:t>1 – </a:t>
            </a:r>
            <a:r>
              <a:rPr lang="en-US" sz="800" dirty="0"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rank2traffic.com/craigslist.org</a:t>
            </a:r>
            <a:r>
              <a:rPr lang="en-US" sz="800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06432886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468" y="265238"/>
          <a:ext cx="1465" cy="146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10" name="Object 9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468" y="265238"/>
                        <a:ext cx="1465" cy="146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>
            <p:custDataLst>
              <p:tags r:id="rId3"/>
            </p:custDataLst>
          </p:nvPr>
        </p:nvSpPr>
        <p:spPr bwMode="auto">
          <a:xfrm>
            <a:off x="1524000" y="263769"/>
            <a:ext cx="146538" cy="146538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914400"/>
            <a:endParaRPr lang="en-US" sz="2000" b="1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0" name="Block Arc 19">
            <a:extLst>
              <a:ext uri="{FF2B5EF4-FFF2-40B4-BE49-F238E27FC236}">
                <a16:creationId xmlns:a16="http://schemas.microsoft.com/office/drawing/2014/main" id="{2AF7F88E-4CC1-D94C-9A06-AA122BE3C566}"/>
              </a:ext>
            </a:extLst>
          </p:cNvPr>
          <p:cNvSpPr/>
          <p:nvPr/>
        </p:nvSpPr>
        <p:spPr>
          <a:xfrm>
            <a:off x="3340442" y="2300655"/>
            <a:ext cx="4942662" cy="4893334"/>
          </a:xfrm>
          <a:prstGeom prst="blockArc">
            <a:avLst/>
          </a:prstGeom>
          <a:solidFill>
            <a:srgbClr val="ED7D31"/>
          </a:solidFill>
          <a:ln>
            <a:noFill/>
          </a:ln>
          <a:effectLst>
            <a:innerShdw blurRad="114300">
              <a:prstClr val="black"/>
            </a:innerShdw>
          </a:effectLst>
          <a:scene3d>
            <a:camera prst="orthographicFront"/>
            <a:lightRig rig="threePt" dir="t"/>
          </a:scene3d>
          <a:sp3d contourW="12700">
            <a:contourClr>
              <a:schemeClr val="bg1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950"/>
            <a:endParaRPr lang="en-US" sz="1463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22" name="Block Arc 21">
            <a:extLst>
              <a:ext uri="{FF2B5EF4-FFF2-40B4-BE49-F238E27FC236}">
                <a16:creationId xmlns:a16="http://schemas.microsoft.com/office/drawing/2014/main" id="{CCA92EA2-1A46-5342-A234-B898ADB764D2}"/>
              </a:ext>
            </a:extLst>
          </p:cNvPr>
          <p:cNvSpPr/>
          <p:nvPr/>
        </p:nvSpPr>
        <p:spPr>
          <a:xfrm>
            <a:off x="3340442" y="2309839"/>
            <a:ext cx="4942662" cy="4893334"/>
          </a:xfrm>
          <a:prstGeom prst="blockArc">
            <a:avLst>
              <a:gd name="adj1" fmla="val 17865360"/>
              <a:gd name="adj2" fmla="val 0"/>
              <a:gd name="adj3" fmla="val 25000"/>
            </a:avLst>
          </a:prstGeom>
          <a:solidFill>
            <a:srgbClr val="3E4D62"/>
          </a:solidFill>
          <a:ln>
            <a:noFill/>
          </a:ln>
          <a:effectLst>
            <a:innerShdw blurRad="114300">
              <a:prstClr val="black"/>
            </a:innerShdw>
          </a:effectLst>
          <a:scene3d>
            <a:camera prst="orthographicFront"/>
            <a:lightRig rig="threePt" dir="t"/>
          </a:scene3d>
          <a:sp3d contourW="12700">
            <a:contourClr>
              <a:schemeClr val="bg1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950"/>
            <a:endParaRPr lang="en-US" sz="1463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21" name="Freeform 20">
            <a:extLst>
              <a:ext uri="{FF2B5EF4-FFF2-40B4-BE49-F238E27FC236}">
                <a16:creationId xmlns:a16="http://schemas.microsoft.com/office/drawing/2014/main" id="{CAA5FDE6-BFF1-CC47-9544-8FBF73721DB2}"/>
              </a:ext>
            </a:extLst>
          </p:cNvPr>
          <p:cNvSpPr/>
          <p:nvPr/>
        </p:nvSpPr>
        <p:spPr>
          <a:xfrm rot="19763021">
            <a:off x="4965347" y="2874118"/>
            <a:ext cx="1620580" cy="2249355"/>
          </a:xfrm>
          <a:custGeom>
            <a:avLst/>
            <a:gdLst>
              <a:gd name="connsiteX0" fmla="*/ 1079315 w 1079315"/>
              <a:gd name="connsiteY0" fmla="*/ 0 h 1513184"/>
              <a:gd name="connsiteX1" fmla="*/ 610314 w 1079315"/>
              <a:gd name="connsiteY1" fmla="*/ 877178 h 1513184"/>
              <a:gd name="connsiteX2" fmla="*/ 624392 w 1079315"/>
              <a:gd name="connsiteY2" fmla="*/ 888793 h 1513184"/>
              <a:gd name="connsiteX3" fmla="*/ 731520 w 1079315"/>
              <a:gd name="connsiteY3" fmla="*/ 1147424 h 1513184"/>
              <a:gd name="connsiteX4" fmla="*/ 365760 w 1079315"/>
              <a:gd name="connsiteY4" fmla="*/ 1513184 h 1513184"/>
              <a:gd name="connsiteX5" fmla="*/ 0 w 1079315"/>
              <a:gd name="connsiteY5" fmla="*/ 1147424 h 1513184"/>
              <a:gd name="connsiteX6" fmla="*/ 365760 w 1079315"/>
              <a:gd name="connsiteY6" fmla="*/ 781664 h 1513184"/>
              <a:gd name="connsiteX7" fmla="*/ 439474 w 1079315"/>
              <a:gd name="connsiteY7" fmla="*/ 789095 h 1513184"/>
              <a:gd name="connsiteX8" fmla="*/ 498981 w 1079315"/>
              <a:gd name="connsiteY8" fmla="*/ 807567 h 15131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079315" h="1513184">
                <a:moveTo>
                  <a:pt x="1079315" y="0"/>
                </a:moveTo>
                <a:lnTo>
                  <a:pt x="610314" y="877178"/>
                </a:lnTo>
                <a:lnTo>
                  <a:pt x="624392" y="888793"/>
                </a:lnTo>
                <a:cubicBezTo>
                  <a:pt x="690581" y="954982"/>
                  <a:pt x="731520" y="1046422"/>
                  <a:pt x="731520" y="1147424"/>
                </a:cubicBezTo>
                <a:cubicBezTo>
                  <a:pt x="731520" y="1349428"/>
                  <a:pt x="567764" y="1513184"/>
                  <a:pt x="365760" y="1513184"/>
                </a:cubicBezTo>
                <a:cubicBezTo>
                  <a:pt x="163756" y="1513184"/>
                  <a:pt x="0" y="1349428"/>
                  <a:pt x="0" y="1147424"/>
                </a:cubicBezTo>
                <a:cubicBezTo>
                  <a:pt x="0" y="945420"/>
                  <a:pt x="163756" y="781664"/>
                  <a:pt x="365760" y="781664"/>
                </a:cubicBezTo>
                <a:cubicBezTo>
                  <a:pt x="391011" y="781664"/>
                  <a:pt x="415663" y="784223"/>
                  <a:pt x="439474" y="789095"/>
                </a:cubicBezTo>
                <a:lnTo>
                  <a:pt x="498981" y="807567"/>
                </a:lnTo>
                <a:close/>
              </a:path>
            </a:pathLst>
          </a:custGeom>
          <a:solidFill>
            <a:srgbClr val="6B6B6B"/>
          </a:solidFill>
          <a:ln>
            <a:noFill/>
          </a:ln>
          <a:effectLst>
            <a:innerShdw blurRad="63500" dist="50800" dir="13500000">
              <a:prstClr val="black">
                <a:alpha val="50000"/>
              </a:prstClr>
            </a:innerShdw>
          </a:effectLst>
          <a:scene3d>
            <a:camera prst="orthographicFront"/>
            <a:lightRig rig="threePt" dir="t"/>
          </a:scene3d>
          <a:sp3d contourW="12700">
            <a:contourClr>
              <a:schemeClr val="bg1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950"/>
            <a:endParaRPr lang="en-US" sz="1463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0AC59A8E-D806-AC43-BA82-51B9626EAB1F}"/>
              </a:ext>
            </a:extLst>
          </p:cNvPr>
          <p:cNvSpPr txBox="1"/>
          <p:nvPr/>
        </p:nvSpPr>
        <p:spPr>
          <a:xfrm>
            <a:off x="1280247" y="3734616"/>
            <a:ext cx="3903521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117560"/>
            <a:r>
              <a:rPr lang="en-US" b="1" dirty="0">
                <a:solidFill>
                  <a:srgbClr val="6B6B6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oblem Statement</a:t>
            </a:r>
          </a:p>
          <a:p>
            <a:pPr defTabSz="1117560"/>
            <a:r>
              <a:rPr lang="en-US" b="1" dirty="0">
                <a:solidFill>
                  <a:srgbClr val="6B6B6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and Objectives</a:t>
            </a:r>
          </a:p>
          <a:p>
            <a:pPr defTabSz="1117560"/>
            <a:endParaRPr lang="en-US" b="1" dirty="0">
              <a:solidFill>
                <a:srgbClr val="6B6B6B"/>
              </a:solidFill>
              <a:latin typeface="Roboto Condensed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CD244B8F-DD06-A94F-BDC5-A59B31E4BA52}"/>
              </a:ext>
            </a:extLst>
          </p:cNvPr>
          <p:cNvSpPr txBox="1"/>
          <p:nvPr/>
        </p:nvSpPr>
        <p:spPr>
          <a:xfrm>
            <a:off x="5183768" y="1775079"/>
            <a:ext cx="390352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117560"/>
            <a:r>
              <a:rPr lang="en-US" b="1" dirty="0">
                <a:solidFill>
                  <a:srgbClr val="6B6B6B"/>
                </a:solidFill>
                <a:latin typeface="Roboto Condensed"/>
              </a:rPr>
              <a:t>Solution 1</a:t>
            </a:r>
            <a:endParaRPr lang="en-US" sz="2000" b="1" dirty="0">
              <a:solidFill>
                <a:srgbClr val="6B6B6B"/>
              </a:solidFill>
              <a:latin typeface="Roboto Condensed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48343BC8-C9F5-4344-983A-B9C00DFB4CC0}"/>
              </a:ext>
            </a:extLst>
          </p:cNvPr>
          <p:cNvSpPr txBox="1"/>
          <p:nvPr/>
        </p:nvSpPr>
        <p:spPr>
          <a:xfrm>
            <a:off x="2427822" y="2356615"/>
            <a:ext cx="390352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117560"/>
            <a:r>
              <a:rPr lang="en-US" b="1" dirty="0">
                <a:solidFill>
                  <a:srgbClr val="6B6B6B"/>
                </a:solidFill>
                <a:latin typeface="Roboto Condensed"/>
              </a:rPr>
              <a:t>Recommendation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8C35BB83-F887-B845-A4C0-EBB9C544B1FB}"/>
              </a:ext>
            </a:extLst>
          </p:cNvPr>
          <p:cNvSpPr txBox="1"/>
          <p:nvPr/>
        </p:nvSpPr>
        <p:spPr>
          <a:xfrm>
            <a:off x="8391538" y="4009100"/>
            <a:ext cx="390352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117560"/>
            <a:r>
              <a:rPr lang="en-US" b="1" dirty="0">
                <a:solidFill>
                  <a:srgbClr val="6B6B6B"/>
                </a:solidFill>
                <a:latin typeface="Roboto Condensed"/>
              </a:rPr>
              <a:t>Timeline and Risk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C3E84651-4CEF-414F-BBCB-CBB3544EA948}"/>
              </a:ext>
            </a:extLst>
          </p:cNvPr>
          <p:cNvSpPr txBox="1"/>
          <p:nvPr/>
        </p:nvSpPr>
        <p:spPr>
          <a:xfrm>
            <a:off x="7528006" y="2356615"/>
            <a:ext cx="390352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117560"/>
            <a:r>
              <a:rPr lang="en-US" b="1" dirty="0">
                <a:solidFill>
                  <a:srgbClr val="6B6B6B"/>
                </a:solidFill>
                <a:latin typeface="Roboto Condensed"/>
              </a:rPr>
              <a:t>Solution 2</a:t>
            </a:r>
            <a:endParaRPr lang="en-US" sz="2000" b="1" dirty="0">
              <a:solidFill>
                <a:srgbClr val="6B6B6B"/>
              </a:solidFill>
              <a:latin typeface="Roboto Condensed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FAD0691A-F86C-4DE5-869A-9410A86A1DCD}"/>
              </a:ext>
            </a:extLst>
          </p:cNvPr>
          <p:cNvSpPr/>
          <p:nvPr/>
        </p:nvSpPr>
        <p:spPr>
          <a:xfrm>
            <a:off x="0" y="264294"/>
            <a:ext cx="1757680" cy="741204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7A11BE1F-915C-46BC-8545-4E2E1677B614}"/>
              </a:ext>
            </a:extLst>
          </p:cNvPr>
          <p:cNvSpPr/>
          <p:nvPr/>
        </p:nvSpPr>
        <p:spPr>
          <a:xfrm>
            <a:off x="8575041" y="293170"/>
            <a:ext cx="3616959" cy="741204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24BF5C66-1CEC-4850-B5DC-86D40BB6B91B}"/>
              </a:ext>
            </a:extLst>
          </p:cNvPr>
          <p:cNvSpPr/>
          <p:nvPr/>
        </p:nvSpPr>
        <p:spPr>
          <a:xfrm>
            <a:off x="1757681" y="293170"/>
            <a:ext cx="6817360" cy="74120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dirty="0">
                <a:solidFill>
                  <a:schemeClr val="tx1"/>
                </a:solidFill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31322147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phic 4" descr="Dance steps">
            <a:extLst>
              <a:ext uri="{FF2B5EF4-FFF2-40B4-BE49-F238E27FC236}">
                <a16:creationId xmlns:a16="http://schemas.microsoft.com/office/drawing/2014/main" id="{8325B488-774E-489F-BC1F-8C835AEE8650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t="30185" r="58889" b="4339"/>
          <a:stretch/>
        </p:blipFill>
        <p:spPr>
          <a:xfrm>
            <a:off x="4690444" y="3671208"/>
            <a:ext cx="812656" cy="1294317"/>
          </a:xfrm>
          <a:prstGeom prst="rect">
            <a:avLst/>
          </a:prstGeom>
        </p:spPr>
      </p:pic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49E0744-38AE-B949-8CF2-794538F78F2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4" name="think-cell Slide" r:id="rId7" imgW="7772400" imgH="10058400" progId="TCLayout.ActiveDocument.1">
                  <p:embed/>
                </p:oleObj>
              </mc:Choice>
              <mc:Fallback>
                <p:oleObj name="think-cell Slide" r:id="rId7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49E0744-38AE-B949-8CF2-794538F78F2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15C7749E-9520-CD42-A6CE-47DA467316F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dirty="0">
              <a:latin typeface="Calibri Light" panose="020F0302020204030204" pitchFamily="34" charset="0"/>
              <a:ea typeface="+mj-ea"/>
              <a:sym typeface="Calibri Light" panose="020F0302020204030204" pitchFamily="34" charset="0"/>
            </a:endParaRPr>
          </a:p>
        </p:txBody>
      </p:sp>
      <p:sp>
        <p:nvSpPr>
          <p:cNvPr id="9" name="Rectangle 2">
            <a:extLst>
              <a:ext uri="{FF2B5EF4-FFF2-40B4-BE49-F238E27FC236}">
                <a16:creationId xmlns:a16="http://schemas.microsoft.com/office/drawing/2014/main" id="{0337D386-3080-4BA6-B191-5C635605E4C1}"/>
              </a:ext>
            </a:extLst>
          </p:cNvPr>
          <p:cNvSpPr/>
          <p:nvPr/>
        </p:nvSpPr>
        <p:spPr>
          <a:xfrm>
            <a:off x="0" y="264294"/>
            <a:ext cx="1757680" cy="741204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4AC2323-5379-4A16-BA63-D5E12B1D643B}"/>
              </a:ext>
            </a:extLst>
          </p:cNvPr>
          <p:cNvSpPr/>
          <p:nvPr/>
        </p:nvSpPr>
        <p:spPr>
          <a:xfrm>
            <a:off x="8575041" y="293170"/>
            <a:ext cx="3616959" cy="741204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90B790A6-1D69-4EF7-9F33-21D60C299A88}"/>
              </a:ext>
            </a:extLst>
          </p:cNvPr>
          <p:cNvSpPr/>
          <p:nvPr/>
        </p:nvSpPr>
        <p:spPr>
          <a:xfrm>
            <a:off x="1669999" y="268118"/>
            <a:ext cx="6817360" cy="74120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dirty="0">
                <a:solidFill>
                  <a:srgbClr val="000000"/>
                </a:solidFill>
                <a:ea typeface="+mn-lt"/>
                <a:cs typeface="+mn-lt"/>
              </a:rPr>
              <a:t>Detailed Solutions:</a:t>
            </a:r>
          </a:p>
          <a:p>
            <a:pPr algn="ctr"/>
            <a:r>
              <a:rPr lang="en-US" sz="2800" dirty="0">
                <a:solidFill>
                  <a:schemeClr val="tx1"/>
                </a:solidFill>
                <a:ea typeface="+mn-lt"/>
                <a:cs typeface="+mn-lt"/>
              </a:rPr>
              <a:t>Mature content without user authorization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424C0444-8172-44F8-9E65-264295061F16}"/>
              </a:ext>
            </a:extLst>
          </p:cNvPr>
          <p:cNvSpPr/>
          <p:nvPr/>
        </p:nvSpPr>
        <p:spPr>
          <a:xfrm>
            <a:off x="381000" y="5843588"/>
            <a:ext cx="11177588" cy="59002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i="1" dirty="0">
                <a:solidFill>
                  <a:srgbClr val="000000"/>
                </a:solidFill>
              </a:rPr>
              <a:t>Using the profanity filters , we can identify the mature content into a different section</a:t>
            </a:r>
            <a:endParaRPr lang="en-US" dirty="0"/>
          </a:p>
        </p:txBody>
      </p:sp>
      <p:sp>
        <p:nvSpPr>
          <p:cNvPr id="37" name="Rectangle: Rounded Corners 36">
            <a:extLst>
              <a:ext uri="{FF2B5EF4-FFF2-40B4-BE49-F238E27FC236}">
                <a16:creationId xmlns:a16="http://schemas.microsoft.com/office/drawing/2014/main" id="{624C888E-8775-415B-9063-42B82AEBE47F}"/>
              </a:ext>
            </a:extLst>
          </p:cNvPr>
          <p:cNvSpPr/>
          <p:nvPr/>
        </p:nvSpPr>
        <p:spPr>
          <a:xfrm>
            <a:off x="1318094" y="4161772"/>
            <a:ext cx="3553291" cy="803753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b="1" dirty="0">
                <a:solidFill>
                  <a:schemeClr val="accent2"/>
                </a:solidFill>
                <a:cs typeface="Calibri"/>
              </a:rPr>
              <a:t>STEP 1</a:t>
            </a:r>
          </a:p>
          <a:p>
            <a:pPr algn="r"/>
            <a:r>
              <a:rPr lang="en-US" sz="2000" b="1" dirty="0">
                <a:solidFill>
                  <a:schemeClr val="accent2"/>
                </a:solidFill>
                <a:cs typeface="Calibri"/>
              </a:rPr>
              <a:t>Use profanity filters </a:t>
            </a:r>
            <a:r>
              <a:rPr lang="en-US" dirty="0">
                <a:solidFill>
                  <a:schemeClr val="accent2"/>
                </a:solidFill>
                <a:cs typeface="Calibri"/>
              </a:rPr>
              <a:t>to identify existing posts with mature content</a:t>
            </a:r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42" name="Rectangle: Rounded Corners 41">
            <a:extLst>
              <a:ext uri="{FF2B5EF4-FFF2-40B4-BE49-F238E27FC236}">
                <a16:creationId xmlns:a16="http://schemas.microsoft.com/office/drawing/2014/main" id="{3CDE4424-B3B5-4F28-A2E8-47397F349DEA}"/>
              </a:ext>
            </a:extLst>
          </p:cNvPr>
          <p:cNvSpPr/>
          <p:nvPr/>
        </p:nvSpPr>
        <p:spPr>
          <a:xfrm>
            <a:off x="6511947" y="3434759"/>
            <a:ext cx="2479653" cy="789642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b="1" dirty="0">
                <a:solidFill>
                  <a:schemeClr val="accent3">
                    <a:lumMod val="75000"/>
                  </a:schemeClr>
                </a:solidFill>
                <a:cs typeface="Calibri"/>
              </a:rPr>
              <a:t>STEP 2</a:t>
            </a:r>
          </a:p>
          <a:p>
            <a:r>
              <a:rPr lang="en-US" sz="2000" b="1" dirty="0">
                <a:solidFill>
                  <a:schemeClr val="accent3">
                    <a:lumMod val="75000"/>
                  </a:schemeClr>
                </a:solidFill>
                <a:cs typeface="Calibri"/>
              </a:rPr>
              <a:t>Real time analysis </a:t>
            </a:r>
            <a:r>
              <a:rPr lang="en-US" dirty="0">
                <a:solidFill>
                  <a:schemeClr val="accent3">
                    <a:lumMod val="75000"/>
                  </a:schemeClr>
                </a:solidFill>
                <a:cs typeface="Calibri"/>
              </a:rPr>
              <a:t>of mature posts</a:t>
            </a:r>
          </a:p>
        </p:txBody>
      </p:sp>
      <p:sp>
        <p:nvSpPr>
          <p:cNvPr id="43" name="Rectangle: Rounded Corners 42">
            <a:extLst>
              <a:ext uri="{FF2B5EF4-FFF2-40B4-BE49-F238E27FC236}">
                <a16:creationId xmlns:a16="http://schemas.microsoft.com/office/drawing/2014/main" id="{447AAA9B-53F4-41EE-80F8-B3087FBDE882}"/>
              </a:ext>
            </a:extLst>
          </p:cNvPr>
          <p:cNvSpPr/>
          <p:nvPr/>
        </p:nvSpPr>
        <p:spPr>
          <a:xfrm>
            <a:off x="2272146" y="2209798"/>
            <a:ext cx="2594212" cy="803753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b="1" dirty="0">
                <a:solidFill>
                  <a:srgbClr val="44546A"/>
                </a:solidFill>
                <a:cs typeface="Calibri"/>
              </a:rPr>
              <a:t>STEP 3</a:t>
            </a:r>
          </a:p>
          <a:p>
            <a:pPr algn="r"/>
            <a:r>
              <a:rPr lang="en-US" sz="2000" b="1" dirty="0">
                <a:solidFill>
                  <a:srgbClr val="44546A"/>
                </a:solidFill>
                <a:cs typeface="Calibri"/>
              </a:rPr>
              <a:t>A separate section </a:t>
            </a:r>
            <a:r>
              <a:rPr lang="en-US" dirty="0">
                <a:solidFill>
                  <a:srgbClr val="44546A"/>
                </a:solidFill>
                <a:cs typeface="Calibri"/>
              </a:rPr>
              <a:t>for mature content posts</a:t>
            </a:r>
          </a:p>
        </p:txBody>
      </p:sp>
      <p:pic>
        <p:nvPicPr>
          <p:cNvPr id="7" name="Graphic 6" descr="Dance steps">
            <a:extLst>
              <a:ext uri="{FF2B5EF4-FFF2-40B4-BE49-F238E27FC236}">
                <a16:creationId xmlns:a16="http://schemas.microsoft.com/office/drawing/2014/main" id="{00D5657E-7029-43C2-9E93-A1C29BD8EA1D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rcRect l="51108" b="40606"/>
          <a:stretch/>
        </p:blipFill>
        <p:spPr>
          <a:xfrm>
            <a:off x="5715159" y="3091080"/>
            <a:ext cx="932927" cy="1133321"/>
          </a:xfrm>
          <a:prstGeom prst="rect">
            <a:avLst/>
          </a:prstGeom>
        </p:spPr>
      </p:pic>
      <p:pic>
        <p:nvPicPr>
          <p:cNvPr id="20" name="Graphic 19" descr="Dance steps">
            <a:extLst>
              <a:ext uri="{FF2B5EF4-FFF2-40B4-BE49-F238E27FC236}">
                <a16:creationId xmlns:a16="http://schemas.microsoft.com/office/drawing/2014/main" id="{5955545A-C935-44F0-A0A7-E6CFBBAF3921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39720" t="60759" r="19169" b="4339"/>
          <a:stretch/>
        </p:blipFill>
        <p:spPr>
          <a:xfrm>
            <a:off x="5435885" y="4245605"/>
            <a:ext cx="812656" cy="689933"/>
          </a:xfrm>
          <a:prstGeom prst="rect">
            <a:avLst/>
          </a:prstGeom>
        </p:spPr>
      </p:pic>
      <p:pic>
        <p:nvPicPr>
          <p:cNvPr id="21" name="Graphic 20" descr="Dance steps">
            <a:extLst>
              <a:ext uri="{FF2B5EF4-FFF2-40B4-BE49-F238E27FC236}">
                <a16:creationId xmlns:a16="http://schemas.microsoft.com/office/drawing/2014/main" id="{50B4F6AE-3ECF-4BF5-9E7A-B97DC8BA4189}"/>
              </a:ext>
            </a:extLst>
          </p:cNvPr>
          <p:cNvPicPr>
            <a:picLocks noChangeAspect="1"/>
          </p:cNvPicPr>
          <p:nvPr/>
        </p:nvPicPr>
        <p:blipFill rotWithShape="1"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rcRect t="30185" r="58889" b="4339"/>
          <a:stretch/>
        </p:blipFill>
        <p:spPr>
          <a:xfrm>
            <a:off x="4764815" y="1394939"/>
            <a:ext cx="812656" cy="1294317"/>
          </a:xfrm>
          <a:prstGeom prst="rect">
            <a:avLst/>
          </a:prstGeom>
        </p:spPr>
      </p:pic>
      <p:pic>
        <p:nvPicPr>
          <p:cNvPr id="22" name="Graphic 21" descr="Dance steps">
            <a:extLst>
              <a:ext uri="{FF2B5EF4-FFF2-40B4-BE49-F238E27FC236}">
                <a16:creationId xmlns:a16="http://schemas.microsoft.com/office/drawing/2014/main" id="{48103832-85E9-45F8-B39F-963B7B965861}"/>
              </a:ext>
            </a:extLst>
          </p:cNvPr>
          <p:cNvPicPr>
            <a:picLocks noChangeAspect="1"/>
          </p:cNvPicPr>
          <p:nvPr/>
        </p:nvPicPr>
        <p:blipFill rotWithShape="1"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rcRect l="39720" t="60759" r="19169" b="4339"/>
          <a:stretch/>
        </p:blipFill>
        <p:spPr>
          <a:xfrm rot="16006127">
            <a:off x="5464092" y="2416699"/>
            <a:ext cx="812656" cy="6899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244505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7" grpId="0"/>
      <p:bldP spid="42" grpId="0"/>
      <p:bldP spid="43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Arrow: Chevron 6">
            <a:extLst>
              <a:ext uri="{FF2B5EF4-FFF2-40B4-BE49-F238E27FC236}">
                <a16:creationId xmlns:a16="http://schemas.microsoft.com/office/drawing/2014/main" id="{DED0F845-3016-4AC6-86DF-842CB9F9962E}"/>
              </a:ext>
            </a:extLst>
          </p:cNvPr>
          <p:cNvSpPr/>
          <p:nvPr/>
        </p:nvSpPr>
        <p:spPr>
          <a:xfrm>
            <a:off x="6683345" y="1937195"/>
            <a:ext cx="620486" cy="3658063"/>
          </a:xfrm>
          <a:prstGeom prst="chevron">
            <a:avLst/>
          </a:prstGeom>
          <a:solidFill>
            <a:srgbClr val="6B6B6B"/>
          </a:solidFill>
          <a:ln>
            <a:solidFill>
              <a:srgbClr val="6B6B6B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US" sz="1400" dirty="0" err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6A2F97A-6831-4D6F-97A1-8E79CE6AAF5F}"/>
              </a:ext>
            </a:extLst>
          </p:cNvPr>
          <p:cNvSpPr txBox="1"/>
          <p:nvPr/>
        </p:nvSpPr>
        <p:spPr>
          <a:xfrm flipH="1">
            <a:off x="7966991" y="3694040"/>
            <a:ext cx="4300446" cy="498598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r>
              <a:rPr lang="en-US" sz="3600" b="1" dirty="0">
                <a:solidFill>
                  <a:srgbClr val="7C7C7C"/>
                </a:solidFill>
                <a:latin typeface="Calibri" panose="020F0502020204030204" pitchFamily="34" charset="0"/>
                <a:ea typeface="Cambria" panose="02040503050406030204" pitchFamily="18" charset="0"/>
                <a:cs typeface="Calibri" panose="020F0502020204030204" pitchFamily="34" charset="0"/>
              </a:rPr>
              <a:t>Lost views: 850M</a:t>
            </a:r>
          </a:p>
        </p:txBody>
      </p:sp>
      <p:pic>
        <p:nvPicPr>
          <p:cNvPr id="10" name="Graphic 9" descr="Coins">
            <a:extLst>
              <a:ext uri="{FF2B5EF4-FFF2-40B4-BE49-F238E27FC236}">
                <a16:creationId xmlns:a16="http://schemas.microsoft.com/office/drawing/2014/main" id="{7990E826-32D3-4D86-B373-6710D467E42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575041" y="2142022"/>
            <a:ext cx="1472650" cy="1472650"/>
          </a:xfrm>
          <a:prstGeom prst="rect">
            <a:avLst/>
          </a:prstGeom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0F63171B-9EF3-420B-BE5F-B9055A6408D4}"/>
              </a:ext>
            </a:extLst>
          </p:cNvPr>
          <p:cNvCxnSpPr>
            <a:cxnSpLocks/>
          </p:cNvCxnSpPr>
          <p:nvPr/>
        </p:nvCxnSpPr>
        <p:spPr>
          <a:xfrm flipH="1">
            <a:off x="0" y="3026228"/>
            <a:ext cx="6537960" cy="0"/>
          </a:xfrm>
          <a:prstGeom prst="line">
            <a:avLst/>
          </a:prstGeom>
          <a:ln w="12700" cap="flat">
            <a:solidFill>
              <a:srgbClr val="6B6B6B"/>
            </a:soli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4B502CF0-1112-40B6-B5ED-A480075E60EE}"/>
              </a:ext>
            </a:extLst>
          </p:cNvPr>
          <p:cNvCxnSpPr>
            <a:cxnSpLocks/>
          </p:cNvCxnSpPr>
          <p:nvPr/>
        </p:nvCxnSpPr>
        <p:spPr>
          <a:xfrm flipH="1">
            <a:off x="0" y="4561114"/>
            <a:ext cx="6537960" cy="0"/>
          </a:xfrm>
          <a:prstGeom prst="line">
            <a:avLst/>
          </a:prstGeom>
          <a:ln w="12700" cap="flat">
            <a:solidFill>
              <a:srgbClr val="6B6B6B"/>
            </a:soli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7">
            <a:extLst>
              <a:ext uri="{FF2B5EF4-FFF2-40B4-BE49-F238E27FC236}">
                <a16:creationId xmlns:a16="http://schemas.microsoft.com/office/drawing/2014/main" id="{8005023D-783C-4953-AE47-CC81169813CA}"/>
              </a:ext>
            </a:extLst>
          </p:cNvPr>
          <p:cNvSpPr txBox="1"/>
          <p:nvPr/>
        </p:nvSpPr>
        <p:spPr>
          <a:xfrm flipH="1">
            <a:off x="1554971" y="1937195"/>
            <a:ext cx="2352427" cy="498598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t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r>
              <a:rPr lang="en-US" sz="3600" b="1" dirty="0">
                <a:solidFill>
                  <a:srgbClr val="44536A"/>
                </a:solidFill>
                <a:latin typeface="Calibri" panose="020F0502020204030204" pitchFamily="34" charset="0"/>
                <a:ea typeface="Cambria" panose="02040503050406030204" pitchFamily="18" charset="0"/>
                <a:cs typeface="Calibri" panose="020F0502020204030204" pitchFamily="34" charset="0"/>
              </a:rPr>
              <a:t>49.5billion</a:t>
            </a:r>
            <a:r>
              <a:rPr lang="en-US" sz="2400" b="1" baseline="30000" dirty="0">
                <a:solidFill>
                  <a:srgbClr val="44536A"/>
                </a:solidFill>
                <a:latin typeface="Calibri" panose="020F0502020204030204" pitchFamily="34" charset="0"/>
                <a:ea typeface="Cambria" panose="02040503050406030204" pitchFamily="18" charset="0"/>
                <a:cs typeface="Calibri" panose="020F0502020204030204" pitchFamily="34" charset="0"/>
              </a:rPr>
              <a:t>1</a:t>
            </a:r>
            <a:endParaRPr lang="en-US" sz="3600" b="1" baseline="30000" dirty="0">
              <a:solidFill>
                <a:srgbClr val="44536A"/>
              </a:solidFill>
              <a:latin typeface="Calibri" panose="020F0502020204030204" pitchFamily="34" charset="0"/>
              <a:ea typeface="Cambria" panose="02040503050406030204" pitchFamily="18" charset="0"/>
              <a:cs typeface="Calibri" panose="020F0502020204030204" pitchFamily="34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84D26BC4-038F-4F0E-8D81-34459332FDDD}"/>
              </a:ext>
            </a:extLst>
          </p:cNvPr>
          <p:cNvSpPr txBox="1"/>
          <p:nvPr/>
        </p:nvSpPr>
        <p:spPr>
          <a:xfrm>
            <a:off x="1732719" y="2435793"/>
            <a:ext cx="1865410" cy="498598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r>
              <a:rPr lang="en-US" dirty="0">
                <a:solidFill>
                  <a:srgbClr val="44536A"/>
                </a:solidFill>
                <a:latin typeface="Calibri" panose="020F0502020204030204" pitchFamily="34" charset="0"/>
                <a:ea typeface="Cambria" panose="02040503050406030204" pitchFamily="18" charset="0"/>
                <a:cs typeface="Calibri" panose="020F0502020204030204" pitchFamily="34" charset="0"/>
              </a:rPr>
              <a:t>Pageviews on Craigslist annually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4DE4953F-38C1-4EC4-9EFE-8D2FDE47085D}"/>
              </a:ext>
            </a:extLst>
          </p:cNvPr>
          <p:cNvSpPr txBox="1"/>
          <p:nvPr/>
        </p:nvSpPr>
        <p:spPr>
          <a:xfrm flipH="1">
            <a:off x="2074786" y="3199366"/>
            <a:ext cx="1312795" cy="498598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t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r>
              <a:rPr lang="en-US" sz="3600" b="1" dirty="0">
                <a:solidFill>
                  <a:srgbClr val="ED7D31"/>
                </a:solidFill>
                <a:latin typeface="Calibri" panose="020F0502020204030204" pitchFamily="34" charset="0"/>
                <a:ea typeface="Cambria" panose="02040503050406030204" pitchFamily="18" charset="0"/>
                <a:cs typeface="Calibri" panose="020F0502020204030204" pitchFamily="34" charset="0"/>
              </a:rPr>
              <a:t>17%</a:t>
            </a:r>
            <a:r>
              <a:rPr lang="en-US" sz="2400" b="1" baseline="30000" dirty="0">
                <a:solidFill>
                  <a:srgbClr val="ED7D31"/>
                </a:solidFill>
                <a:latin typeface="Calibri" panose="020F0502020204030204" pitchFamily="34" charset="0"/>
                <a:ea typeface="Cambria" panose="02040503050406030204" pitchFamily="18" charset="0"/>
                <a:cs typeface="Calibri" panose="020F0502020204030204" pitchFamily="34" charset="0"/>
              </a:rPr>
              <a:t>2</a:t>
            </a:r>
            <a:endParaRPr lang="en-US" sz="3600" b="1" dirty="0">
              <a:solidFill>
                <a:srgbClr val="ED7D31"/>
              </a:solidFill>
              <a:latin typeface="Calibri" panose="020F0502020204030204" pitchFamily="34" charset="0"/>
              <a:ea typeface="Cambria" panose="02040503050406030204" pitchFamily="18" charset="0"/>
              <a:cs typeface="Calibri" panose="020F0502020204030204" pitchFamily="34" charset="0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FD242A3F-9241-47BC-9E1E-46D51C9ABA41}"/>
              </a:ext>
            </a:extLst>
          </p:cNvPr>
          <p:cNvSpPr txBox="1"/>
          <p:nvPr/>
        </p:nvSpPr>
        <p:spPr>
          <a:xfrm>
            <a:off x="1676079" y="3709094"/>
            <a:ext cx="2028612" cy="747897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r>
              <a:rPr lang="en-US" dirty="0">
                <a:solidFill>
                  <a:srgbClr val="ED7D31"/>
                </a:solidFill>
                <a:latin typeface="Calibri" panose="020F0502020204030204" pitchFamily="34" charset="0"/>
                <a:ea typeface="Cambria" panose="02040503050406030204" pitchFamily="18" charset="0"/>
                <a:cs typeface="Calibri" panose="020F0502020204030204" pitchFamily="34" charset="0"/>
              </a:rPr>
              <a:t>Internet using Americans under the age of 18 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24503638-F60A-47B4-BC15-C6A0BC6ED34E}"/>
              </a:ext>
            </a:extLst>
          </p:cNvPr>
          <p:cNvSpPr txBox="1"/>
          <p:nvPr/>
        </p:nvSpPr>
        <p:spPr>
          <a:xfrm flipH="1">
            <a:off x="1757680" y="4658079"/>
            <a:ext cx="1947011" cy="498598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t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r>
              <a:rPr lang="en-US" sz="3600" b="1" dirty="0">
                <a:solidFill>
                  <a:srgbClr val="44536A"/>
                </a:solidFill>
                <a:latin typeface="Calibri" panose="020F0502020204030204" pitchFamily="34" charset="0"/>
                <a:ea typeface="Cambria" panose="02040503050406030204" pitchFamily="18" charset="0"/>
                <a:cs typeface="Calibri" panose="020F0502020204030204" pitchFamily="34" charset="0"/>
              </a:rPr>
              <a:t>10%</a:t>
            </a:r>
            <a:r>
              <a:rPr lang="en-US" sz="2400" b="1" baseline="30000" dirty="0">
                <a:solidFill>
                  <a:srgbClr val="44536A"/>
                </a:solidFill>
                <a:latin typeface="Calibri" panose="020F0502020204030204" pitchFamily="34" charset="0"/>
                <a:ea typeface="Cambria" panose="02040503050406030204" pitchFamily="18" charset="0"/>
                <a:cs typeface="Calibri" panose="020F0502020204030204" pitchFamily="34" charset="0"/>
              </a:rPr>
              <a:t>3</a:t>
            </a:r>
            <a:endParaRPr lang="en-US" sz="3600" b="1" dirty="0">
              <a:solidFill>
                <a:srgbClr val="44536A"/>
              </a:solidFill>
              <a:latin typeface="Calibri" panose="020F0502020204030204" pitchFamily="34" charset="0"/>
              <a:ea typeface="Cambria" panose="02040503050406030204" pitchFamily="18" charset="0"/>
              <a:cs typeface="Calibri" panose="020F0502020204030204" pitchFamily="34" charset="0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C6CAD4EF-42C3-4B96-A45D-30226CD57D6A}"/>
              </a:ext>
            </a:extLst>
          </p:cNvPr>
          <p:cNvSpPr txBox="1"/>
          <p:nvPr/>
        </p:nvSpPr>
        <p:spPr>
          <a:xfrm>
            <a:off x="1757681" y="5216925"/>
            <a:ext cx="2049169" cy="498598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r>
              <a:rPr lang="en-US" dirty="0">
                <a:solidFill>
                  <a:srgbClr val="44536A"/>
                </a:solidFill>
                <a:latin typeface="Calibri" panose="020F0502020204030204" pitchFamily="34" charset="0"/>
                <a:ea typeface="Cambria" panose="02040503050406030204" pitchFamily="18" charset="0"/>
                <a:cs typeface="Calibri" panose="020F0502020204030204" pitchFamily="34" charset="0"/>
              </a:rPr>
              <a:t>of users visit ‘Best of Craigslist’ section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54A2D024-9455-4B2A-8887-68183536CADC}"/>
              </a:ext>
            </a:extLst>
          </p:cNvPr>
          <p:cNvSpPr/>
          <p:nvPr/>
        </p:nvSpPr>
        <p:spPr>
          <a:xfrm>
            <a:off x="0" y="264294"/>
            <a:ext cx="1757680" cy="741204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5B7094B7-4537-40EF-A0D6-9E058C36C35C}"/>
              </a:ext>
            </a:extLst>
          </p:cNvPr>
          <p:cNvSpPr/>
          <p:nvPr/>
        </p:nvSpPr>
        <p:spPr>
          <a:xfrm>
            <a:off x="8575041" y="293170"/>
            <a:ext cx="3616959" cy="741204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36EA1BBF-98EF-4F60-BFA7-005836F93CDA}"/>
              </a:ext>
            </a:extLst>
          </p:cNvPr>
          <p:cNvSpPr/>
          <p:nvPr/>
        </p:nvSpPr>
        <p:spPr>
          <a:xfrm>
            <a:off x="1757681" y="293170"/>
            <a:ext cx="6817360" cy="74120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dirty="0">
                <a:solidFill>
                  <a:schemeClr val="tx1"/>
                </a:solidFill>
              </a:rPr>
              <a:t>Lost pageviews due to missing 18+ filter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3393CEF-38DC-4B27-B346-085AD2329B2E}"/>
              </a:ext>
            </a:extLst>
          </p:cNvPr>
          <p:cNvSpPr txBox="1"/>
          <p:nvPr/>
        </p:nvSpPr>
        <p:spPr>
          <a:xfrm>
            <a:off x="9247419" y="6333997"/>
            <a:ext cx="293221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dirty="0"/>
              <a:t>1 - https://www.rank2traffic.com/craigslist.org</a:t>
            </a:r>
          </a:p>
          <a:p>
            <a:r>
              <a:rPr lang="en-US" sz="800" dirty="0"/>
              <a:t>2 - https://www.census.gov/prod/cen2010/briefs/c2010br-03.pdf</a:t>
            </a:r>
          </a:p>
          <a:p>
            <a:r>
              <a:rPr lang="en-US" sz="800" dirty="0"/>
              <a:t>3 – Ballpark assumption </a:t>
            </a:r>
          </a:p>
        </p:txBody>
      </p:sp>
    </p:spTree>
    <p:extLst>
      <p:ext uri="{BB962C8B-B14F-4D97-AF65-F5344CB8AC3E}">
        <p14:creationId xmlns:p14="http://schemas.microsoft.com/office/powerpoint/2010/main" val="200936870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468" y="265238"/>
          <a:ext cx="1465" cy="146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10" name="Object 9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468" y="265238"/>
                        <a:ext cx="1465" cy="146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>
            <p:custDataLst>
              <p:tags r:id="rId3"/>
            </p:custDataLst>
          </p:nvPr>
        </p:nvSpPr>
        <p:spPr bwMode="auto">
          <a:xfrm>
            <a:off x="1524000" y="263769"/>
            <a:ext cx="146538" cy="146538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914400"/>
            <a:endParaRPr lang="en-US" sz="2000" b="1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0" name="Block Arc 19">
            <a:extLst>
              <a:ext uri="{FF2B5EF4-FFF2-40B4-BE49-F238E27FC236}">
                <a16:creationId xmlns:a16="http://schemas.microsoft.com/office/drawing/2014/main" id="{2AF7F88E-4CC1-D94C-9A06-AA122BE3C566}"/>
              </a:ext>
            </a:extLst>
          </p:cNvPr>
          <p:cNvSpPr/>
          <p:nvPr/>
        </p:nvSpPr>
        <p:spPr>
          <a:xfrm>
            <a:off x="3340442" y="2300655"/>
            <a:ext cx="4942662" cy="4893334"/>
          </a:xfrm>
          <a:prstGeom prst="blockArc">
            <a:avLst/>
          </a:prstGeom>
          <a:solidFill>
            <a:srgbClr val="ED7D31"/>
          </a:solidFill>
          <a:ln>
            <a:noFill/>
          </a:ln>
          <a:effectLst>
            <a:innerShdw blurRad="114300">
              <a:prstClr val="black"/>
            </a:innerShdw>
          </a:effectLst>
          <a:scene3d>
            <a:camera prst="orthographicFront"/>
            <a:lightRig rig="threePt" dir="t"/>
          </a:scene3d>
          <a:sp3d contourW="12700">
            <a:contourClr>
              <a:schemeClr val="bg1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950"/>
            <a:endParaRPr lang="en-US" sz="1463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22" name="Block Arc 21">
            <a:extLst>
              <a:ext uri="{FF2B5EF4-FFF2-40B4-BE49-F238E27FC236}">
                <a16:creationId xmlns:a16="http://schemas.microsoft.com/office/drawing/2014/main" id="{CCA92EA2-1A46-5342-A234-B898ADB764D2}"/>
              </a:ext>
            </a:extLst>
          </p:cNvPr>
          <p:cNvSpPr/>
          <p:nvPr/>
        </p:nvSpPr>
        <p:spPr>
          <a:xfrm>
            <a:off x="3340442" y="2309839"/>
            <a:ext cx="4942662" cy="4893334"/>
          </a:xfrm>
          <a:prstGeom prst="blockArc">
            <a:avLst>
              <a:gd name="adj1" fmla="val 19673033"/>
              <a:gd name="adj2" fmla="val 0"/>
              <a:gd name="adj3" fmla="val 25000"/>
            </a:avLst>
          </a:prstGeom>
          <a:solidFill>
            <a:srgbClr val="3E4D62"/>
          </a:solidFill>
          <a:ln>
            <a:noFill/>
          </a:ln>
          <a:effectLst>
            <a:innerShdw blurRad="114300">
              <a:prstClr val="black"/>
            </a:innerShdw>
          </a:effectLst>
          <a:scene3d>
            <a:camera prst="orthographicFront"/>
            <a:lightRig rig="threePt" dir="t"/>
          </a:scene3d>
          <a:sp3d contourW="12700">
            <a:contourClr>
              <a:schemeClr val="bg1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950"/>
            <a:endParaRPr lang="en-US" sz="1463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21" name="Freeform 20">
            <a:extLst>
              <a:ext uri="{FF2B5EF4-FFF2-40B4-BE49-F238E27FC236}">
                <a16:creationId xmlns:a16="http://schemas.microsoft.com/office/drawing/2014/main" id="{CAA5FDE6-BFF1-CC47-9544-8FBF73721DB2}"/>
              </a:ext>
            </a:extLst>
          </p:cNvPr>
          <p:cNvSpPr/>
          <p:nvPr/>
        </p:nvSpPr>
        <p:spPr>
          <a:xfrm rot="616918">
            <a:off x="5435649" y="2974103"/>
            <a:ext cx="1620580" cy="2249355"/>
          </a:xfrm>
          <a:custGeom>
            <a:avLst/>
            <a:gdLst>
              <a:gd name="connsiteX0" fmla="*/ 1079315 w 1079315"/>
              <a:gd name="connsiteY0" fmla="*/ 0 h 1513184"/>
              <a:gd name="connsiteX1" fmla="*/ 610314 w 1079315"/>
              <a:gd name="connsiteY1" fmla="*/ 877178 h 1513184"/>
              <a:gd name="connsiteX2" fmla="*/ 624392 w 1079315"/>
              <a:gd name="connsiteY2" fmla="*/ 888793 h 1513184"/>
              <a:gd name="connsiteX3" fmla="*/ 731520 w 1079315"/>
              <a:gd name="connsiteY3" fmla="*/ 1147424 h 1513184"/>
              <a:gd name="connsiteX4" fmla="*/ 365760 w 1079315"/>
              <a:gd name="connsiteY4" fmla="*/ 1513184 h 1513184"/>
              <a:gd name="connsiteX5" fmla="*/ 0 w 1079315"/>
              <a:gd name="connsiteY5" fmla="*/ 1147424 h 1513184"/>
              <a:gd name="connsiteX6" fmla="*/ 365760 w 1079315"/>
              <a:gd name="connsiteY6" fmla="*/ 781664 h 1513184"/>
              <a:gd name="connsiteX7" fmla="*/ 439474 w 1079315"/>
              <a:gd name="connsiteY7" fmla="*/ 789095 h 1513184"/>
              <a:gd name="connsiteX8" fmla="*/ 498981 w 1079315"/>
              <a:gd name="connsiteY8" fmla="*/ 807567 h 15131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079315" h="1513184">
                <a:moveTo>
                  <a:pt x="1079315" y="0"/>
                </a:moveTo>
                <a:lnTo>
                  <a:pt x="610314" y="877178"/>
                </a:lnTo>
                <a:lnTo>
                  <a:pt x="624392" y="888793"/>
                </a:lnTo>
                <a:cubicBezTo>
                  <a:pt x="690581" y="954982"/>
                  <a:pt x="731520" y="1046422"/>
                  <a:pt x="731520" y="1147424"/>
                </a:cubicBezTo>
                <a:cubicBezTo>
                  <a:pt x="731520" y="1349428"/>
                  <a:pt x="567764" y="1513184"/>
                  <a:pt x="365760" y="1513184"/>
                </a:cubicBezTo>
                <a:cubicBezTo>
                  <a:pt x="163756" y="1513184"/>
                  <a:pt x="0" y="1349428"/>
                  <a:pt x="0" y="1147424"/>
                </a:cubicBezTo>
                <a:cubicBezTo>
                  <a:pt x="0" y="945420"/>
                  <a:pt x="163756" y="781664"/>
                  <a:pt x="365760" y="781664"/>
                </a:cubicBezTo>
                <a:cubicBezTo>
                  <a:pt x="391011" y="781664"/>
                  <a:pt x="415663" y="784223"/>
                  <a:pt x="439474" y="789095"/>
                </a:cubicBezTo>
                <a:lnTo>
                  <a:pt x="498981" y="807567"/>
                </a:lnTo>
                <a:close/>
              </a:path>
            </a:pathLst>
          </a:custGeom>
          <a:solidFill>
            <a:srgbClr val="6B6B6B"/>
          </a:solidFill>
          <a:ln>
            <a:noFill/>
          </a:ln>
          <a:effectLst>
            <a:innerShdw blurRad="63500" dist="50800" dir="13500000">
              <a:prstClr val="black">
                <a:alpha val="50000"/>
              </a:prstClr>
            </a:innerShdw>
          </a:effectLst>
          <a:scene3d>
            <a:camera prst="orthographicFront"/>
            <a:lightRig rig="threePt" dir="t"/>
          </a:scene3d>
          <a:sp3d contourW="12700">
            <a:contourClr>
              <a:schemeClr val="bg1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950"/>
            <a:endParaRPr lang="en-US" sz="1463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1AF8E001-A8B4-6445-B5B0-1293E7F10A58}"/>
              </a:ext>
            </a:extLst>
          </p:cNvPr>
          <p:cNvSpPr txBox="1"/>
          <p:nvPr/>
        </p:nvSpPr>
        <p:spPr>
          <a:xfrm>
            <a:off x="1280247" y="3734616"/>
            <a:ext cx="3903521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117560"/>
            <a:r>
              <a:rPr lang="en-US" b="1" dirty="0">
                <a:solidFill>
                  <a:srgbClr val="6B6B6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oblem Statement</a:t>
            </a:r>
          </a:p>
          <a:p>
            <a:pPr defTabSz="1117560"/>
            <a:r>
              <a:rPr lang="en-US" b="1" dirty="0">
                <a:solidFill>
                  <a:srgbClr val="6B6B6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and Objectives</a:t>
            </a:r>
          </a:p>
          <a:p>
            <a:pPr defTabSz="1117560"/>
            <a:endParaRPr lang="en-US" b="1" dirty="0">
              <a:solidFill>
                <a:srgbClr val="6B6B6B"/>
              </a:solidFill>
              <a:latin typeface="Roboto Condensed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D17C408F-E8C2-544E-8723-BCAF168AD7CD}"/>
              </a:ext>
            </a:extLst>
          </p:cNvPr>
          <p:cNvSpPr txBox="1"/>
          <p:nvPr/>
        </p:nvSpPr>
        <p:spPr>
          <a:xfrm>
            <a:off x="5183768" y="1775079"/>
            <a:ext cx="390352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117560"/>
            <a:r>
              <a:rPr lang="en-US" b="1" dirty="0">
                <a:solidFill>
                  <a:srgbClr val="6B6B6B"/>
                </a:solidFill>
                <a:latin typeface="Roboto Condensed"/>
              </a:rPr>
              <a:t>Solution 1</a:t>
            </a:r>
            <a:endParaRPr lang="en-US" sz="2000" b="1" dirty="0">
              <a:solidFill>
                <a:srgbClr val="6B6B6B"/>
              </a:solidFill>
              <a:latin typeface="Roboto Condensed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9ABAEB1C-58F5-5A49-B685-F645959B7488}"/>
              </a:ext>
            </a:extLst>
          </p:cNvPr>
          <p:cNvSpPr txBox="1"/>
          <p:nvPr/>
        </p:nvSpPr>
        <p:spPr>
          <a:xfrm>
            <a:off x="2427822" y="2356615"/>
            <a:ext cx="390352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117560"/>
            <a:r>
              <a:rPr lang="en-US" b="1" dirty="0">
                <a:solidFill>
                  <a:srgbClr val="6B6B6B"/>
                </a:solidFill>
                <a:latin typeface="Roboto Condensed"/>
              </a:rPr>
              <a:t>Recommendation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9FA1A22A-CA64-6743-8678-D2F3A3667A5D}"/>
              </a:ext>
            </a:extLst>
          </p:cNvPr>
          <p:cNvSpPr txBox="1"/>
          <p:nvPr/>
        </p:nvSpPr>
        <p:spPr>
          <a:xfrm>
            <a:off x="8391538" y="4009100"/>
            <a:ext cx="390352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117560"/>
            <a:r>
              <a:rPr lang="en-US" b="1" dirty="0">
                <a:solidFill>
                  <a:srgbClr val="6B6B6B"/>
                </a:solidFill>
                <a:latin typeface="Roboto Condensed"/>
              </a:rPr>
              <a:t>Timeline and Risk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F9FE3A03-D9F3-574A-AA6F-0D978DD87865}"/>
              </a:ext>
            </a:extLst>
          </p:cNvPr>
          <p:cNvSpPr txBox="1"/>
          <p:nvPr/>
        </p:nvSpPr>
        <p:spPr>
          <a:xfrm>
            <a:off x="7528006" y="2356615"/>
            <a:ext cx="390352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117560"/>
            <a:r>
              <a:rPr lang="en-US" b="1" dirty="0">
                <a:solidFill>
                  <a:srgbClr val="6B6B6B"/>
                </a:solidFill>
                <a:latin typeface="Roboto Condensed"/>
              </a:rPr>
              <a:t>Solution 2</a:t>
            </a:r>
            <a:endParaRPr lang="en-US" sz="2000" b="1" dirty="0">
              <a:solidFill>
                <a:srgbClr val="6B6B6B"/>
              </a:solidFill>
              <a:latin typeface="Roboto Condensed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C1DC09A9-5639-4D06-91C9-35670B942CDB}"/>
              </a:ext>
            </a:extLst>
          </p:cNvPr>
          <p:cNvSpPr/>
          <p:nvPr/>
        </p:nvSpPr>
        <p:spPr>
          <a:xfrm>
            <a:off x="0" y="264294"/>
            <a:ext cx="1757680" cy="741204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CD46ECAE-D738-4230-A5E2-58887A9D0AAD}"/>
              </a:ext>
            </a:extLst>
          </p:cNvPr>
          <p:cNvSpPr/>
          <p:nvPr/>
        </p:nvSpPr>
        <p:spPr>
          <a:xfrm>
            <a:off x="8575041" y="293170"/>
            <a:ext cx="3616959" cy="741204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69374E5B-E9F0-4859-9F15-5968E18F39F3}"/>
              </a:ext>
            </a:extLst>
          </p:cNvPr>
          <p:cNvSpPr/>
          <p:nvPr/>
        </p:nvSpPr>
        <p:spPr>
          <a:xfrm>
            <a:off x="1757681" y="293170"/>
            <a:ext cx="6817360" cy="74120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dirty="0">
                <a:solidFill>
                  <a:schemeClr val="tx1"/>
                </a:solidFill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88755801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arallelogram 3">
            <a:extLst>
              <a:ext uri="{FF2B5EF4-FFF2-40B4-BE49-F238E27FC236}">
                <a16:creationId xmlns:a16="http://schemas.microsoft.com/office/drawing/2014/main" id="{47BCD2F6-8B52-472C-8536-F67D3F841AE8}"/>
              </a:ext>
            </a:extLst>
          </p:cNvPr>
          <p:cNvSpPr/>
          <p:nvPr/>
        </p:nvSpPr>
        <p:spPr>
          <a:xfrm>
            <a:off x="3069148" y="1660093"/>
            <a:ext cx="8121366" cy="687164"/>
          </a:xfrm>
          <a:prstGeom prst="parallelogram">
            <a:avLst/>
          </a:prstGeom>
          <a:noFill/>
          <a:ln>
            <a:solidFill>
              <a:srgbClr val="1B587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buClr>
                <a:schemeClr val="accent1"/>
              </a:buClr>
            </a:pPr>
            <a:r>
              <a:rPr lang="en-US" dirty="0">
                <a:solidFill>
                  <a:schemeClr val="tx1"/>
                </a:solidFill>
              </a:rPr>
              <a:t>‘Best of Craigslist’ are actually posts that users have voted to </a:t>
            </a:r>
            <a:r>
              <a:rPr lang="en-US">
                <a:solidFill>
                  <a:schemeClr val="tx1"/>
                </a:solidFill>
              </a:rPr>
              <a:t>be interesting </a:t>
            </a:r>
            <a:r>
              <a:rPr lang="en-US" dirty="0">
                <a:solidFill>
                  <a:schemeClr val="tx1"/>
                </a:solidFill>
              </a:rPr>
              <a:t>or amusing</a:t>
            </a:r>
          </a:p>
        </p:txBody>
      </p:sp>
      <p:sp>
        <p:nvSpPr>
          <p:cNvPr id="58" name="Parallelogram 57">
            <a:extLst>
              <a:ext uri="{FF2B5EF4-FFF2-40B4-BE49-F238E27FC236}">
                <a16:creationId xmlns:a16="http://schemas.microsoft.com/office/drawing/2014/main" id="{C944E93A-FB7C-4730-8391-FF5C20DC3121}"/>
              </a:ext>
            </a:extLst>
          </p:cNvPr>
          <p:cNvSpPr/>
          <p:nvPr/>
        </p:nvSpPr>
        <p:spPr>
          <a:xfrm>
            <a:off x="3981400" y="2612054"/>
            <a:ext cx="7209113" cy="687164"/>
          </a:xfrm>
          <a:prstGeom prst="parallelogram">
            <a:avLst/>
          </a:prstGeom>
          <a:noFill/>
          <a:ln>
            <a:solidFill>
              <a:srgbClr val="ED7D3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buClr>
                <a:schemeClr val="accent1"/>
              </a:buClr>
            </a:pPr>
            <a:r>
              <a:rPr lang="en-US" dirty="0">
                <a:solidFill>
                  <a:schemeClr val="tx1"/>
                </a:solidFill>
              </a:rPr>
              <a:t>We will use this classification as indicator for virality</a:t>
            </a:r>
          </a:p>
        </p:txBody>
      </p:sp>
      <p:sp>
        <p:nvSpPr>
          <p:cNvPr id="59" name="Parallelogram 58">
            <a:extLst>
              <a:ext uri="{FF2B5EF4-FFF2-40B4-BE49-F238E27FC236}">
                <a16:creationId xmlns:a16="http://schemas.microsoft.com/office/drawing/2014/main" id="{C4A5F2FD-AB24-4339-9739-2251EF3FDD44}"/>
              </a:ext>
            </a:extLst>
          </p:cNvPr>
          <p:cNvSpPr/>
          <p:nvPr/>
        </p:nvSpPr>
        <p:spPr>
          <a:xfrm>
            <a:off x="4893654" y="3564014"/>
            <a:ext cx="6296859" cy="687164"/>
          </a:xfrm>
          <a:prstGeom prst="parallelogram">
            <a:avLst/>
          </a:prstGeom>
          <a:noFill/>
          <a:ln>
            <a:solidFill>
              <a:srgbClr val="7C7C7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buClr>
                <a:schemeClr val="accent1"/>
              </a:buClr>
            </a:pPr>
            <a:r>
              <a:rPr lang="en-US" dirty="0">
                <a:solidFill>
                  <a:schemeClr val="tx1"/>
                </a:solidFill>
              </a:rPr>
              <a:t>Scrape regular posts from regional domains and all the ‘Best Posts’</a:t>
            </a:r>
          </a:p>
        </p:txBody>
      </p:sp>
      <p:sp>
        <p:nvSpPr>
          <p:cNvPr id="60" name="Parallelogram 59">
            <a:extLst>
              <a:ext uri="{FF2B5EF4-FFF2-40B4-BE49-F238E27FC236}">
                <a16:creationId xmlns:a16="http://schemas.microsoft.com/office/drawing/2014/main" id="{8083E88D-BA70-464E-B8A7-EAE8219C4B6C}"/>
              </a:ext>
            </a:extLst>
          </p:cNvPr>
          <p:cNvSpPr/>
          <p:nvPr/>
        </p:nvSpPr>
        <p:spPr>
          <a:xfrm>
            <a:off x="3981400" y="4486291"/>
            <a:ext cx="7209113" cy="687164"/>
          </a:xfrm>
          <a:prstGeom prst="parallelogram">
            <a:avLst/>
          </a:prstGeom>
          <a:noFill/>
          <a:ln>
            <a:solidFill>
              <a:srgbClr val="ED7D3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buClr>
                <a:schemeClr val="accent1"/>
              </a:buClr>
            </a:pPr>
            <a:r>
              <a:rPr lang="en-US" dirty="0">
                <a:solidFill>
                  <a:schemeClr val="tx1"/>
                </a:solidFill>
              </a:rPr>
              <a:t>Assign these posts target values of 0 and 1. We then build a classification model using post description</a:t>
            </a:r>
          </a:p>
        </p:txBody>
      </p:sp>
      <p:sp>
        <p:nvSpPr>
          <p:cNvPr id="61" name="Parallelogram 60">
            <a:extLst>
              <a:ext uri="{FF2B5EF4-FFF2-40B4-BE49-F238E27FC236}">
                <a16:creationId xmlns:a16="http://schemas.microsoft.com/office/drawing/2014/main" id="{04327319-3840-45A0-926E-9B169F17B7D1}"/>
              </a:ext>
            </a:extLst>
          </p:cNvPr>
          <p:cNvSpPr/>
          <p:nvPr/>
        </p:nvSpPr>
        <p:spPr>
          <a:xfrm>
            <a:off x="3069148" y="5408568"/>
            <a:ext cx="8121366" cy="687164"/>
          </a:xfrm>
          <a:prstGeom prst="parallelogram">
            <a:avLst/>
          </a:prstGeom>
          <a:noFill/>
          <a:ln>
            <a:solidFill>
              <a:srgbClr val="1B587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buClr>
                <a:schemeClr val="accent1"/>
              </a:buClr>
            </a:pPr>
            <a:r>
              <a:rPr lang="en-US" dirty="0">
                <a:solidFill>
                  <a:schemeClr val="tx1"/>
                </a:solidFill>
              </a:rPr>
              <a:t>The model can then recommend new posts in real-time that users might find interesting</a:t>
            </a:r>
          </a:p>
        </p:txBody>
      </p:sp>
      <p:sp>
        <p:nvSpPr>
          <p:cNvPr id="62" name="Rectangle: Rounded Corners 61">
            <a:extLst>
              <a:ext uri="{FF2B5EF4-FFF2-40B4-BE49-F238E27FC236}">
                <a16:creationId xmlns:a16="http://schemas.microsoft.com/office/drawing/2014/main" id="{EFE9B9C3-9B1A-426F-AC3D-81E2A4823064}"/>
              </a:ext>
            </a:extLst>
          </p:cNvPr>
          <p:cNvSpPr/>
          <p:nvPr/>
        </p:nvSpPr>
        <p:spPr>
          <a:xfrm rot="2700000">
            <a:off x="977154" y="1596408"/>
            <a:ext cx="814534" cy="814534"/>
          </a:xfrm>
          <a:prstGeom prst="roundRect">
            <a:avLst>
              <a:gd name="adj" fmla="val 7787"/>
            </a:avLst>
          </a:prstGeom>
          <a:solidFill>
            <a:srgbClr val="1B587C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4" name="Rectangle: Rounded Corners 63">
            <a:extLst>
              <a:ext uri="{FF2B5EF4-FFF2-40B4-BE49-F238E27FC236}">
                <a16:creationId xmlns:a16="http://schemas.microsoft.com/office/drawing/2014/main" id="{E6526F94-E17B-451B-B36E-F5718EFA3EEF}"/>
              </a:ext>
            </a:extLst>
          </p:cNvPr>
          <p:cNvSpPr/>
          <p:nvPr/>
        </p:nvSpPr>
        <p:spPr>
          <a:xfrm rot="2700000">
            <a:off x="1889408" y="2548369"/>
            <a:ext cx="814534" cy="814534"/>
          </a:xfrm>
          <a:prstGeom prst="roundRect">
            <a:avLst>
              <a:gd name="adj" fmla="val 7787"/>
            </a:avLst>
          </a:prstGeom>
          <a:solidFill>
            <a:srgbClr val="ED7D31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5" name="Rectangle: Rounded Corners 64">
            <a:extLst>
              <a:ext uri="{FF2B5EF4-FFF2-40B4-BE49-F238E27FC236}">
                <a16:creationId xmlns:a16="http://schemas.microsoft.com/office/drawing/2014/main" id="{B31BD247-8597-4486-82E0-381A4E8D374D}"/>
              </a:ext>
            </a:extLst>
          </p:cNvPr>
          <p:cNvSpPr/>
          <p:nvPr/>
        </p:nvSpPr>
        <p:spPr>
          <a:xfrm rot="2700000">
            <a:off x="2801661" y="3500329"/>
            <a:ext cx="814534" cy="814534"/>
          </a:xfrm>
          <a:prstGeom prst="roundRect">
            <a:avLst>
              <a:gd name="adj" fmla="val 7787"/>
            </a:avLst>
          </a:prstGeom>
          <a:solidFill>
            <a:srgbClr val="7C7C7C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7C7C7C"/>
              </a:solidFill>
            </a:endParaRPr>
          </a:p>
        </p:txBody>
      </p:sp>
      <p:sp>
        <p:nvSpPr>
          <p:cNvPr id="66" name="Rectangle: Rounded Corners 65">
            <a:extLst>
              <a:ext uri="{FF2B5EF4-FFF2-40B4-BE49-F238E27FC236}">
                <a16:creationId xmlns:a16="http://schemas.microsoft.com/office/drawing/2014/main" id="{BEBE317D-29CD-420C-9FD3-D05AEECAFC05}"/>
              </a:ext>
            </a:extLst>
          </p:cNvPr>
          <p:cNvSpPr/>
          <p:nvPr/>
        </p:nvSpPr>
        <p:spPr>
          <a:xfrm rot="2700000">
            <a:off x="1889408" y="4422606"/>
            <a:ext cx="814534" cy="814534"/>
          </a:xfrm>
          <a:prstGeom prst="roundRect">
            <a:avLst>
              <a:gd name="adj" fmla="val 7787"/>
            </a:avLst>
          </a:prstGeom>
          <a:solidFill>
            <a:srgbClr val="ED7D31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7" name="Rectangle: Rounded Corners 66">
            <a:extLst>
              <a:ext uri="{FF2B5EF4-FFF2-40B4-BE49-F238E27FC236}">
                <a16:creationId xmlns:a16="http://schemas.microsoft.com/office/drawing/2014/main" id="{00AC22E1-1F49-4E85-ACDE-424F2670BE9F}"/>
              </a:ext>
            </a:extLst>
          </p:cNvPr>
          <p:cNvSpPr/>
          <p:nvPr/>
        </p:nvSpPr>
        <p:spPr>
          <a:xfrm rot="2700000">
            <a:off x="977154" y="5344883"/>
            <a:ext cx="814534" cy="814534"/>
          </a:xfrm>
          <a:prstGeom prst="roundRect">
            <a:avLst>
              <a:gd name="adj" fmla="val 7787"/>
            </a:avLst>
          </a:prstGeom>
          <a:solidFill>
            <a:srgbClr val="1B587C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68" name="Group 67">
            <a:extLst>
              <a:ext uri="{FF2B5EF4-FFF2-40B4-BE49-F238E27FC236}">
                <a16:creationId xmlns:a16="http://schemas.microsoft.com/office/drawing/2014/main" id="{2269C6EC-C015-4474-81CC-2FBAE11AF93C}"/>
              </a:ext>
            </a:extLst>
          </p:cNvPr>
          <p:cNvGrpSpPr/>
          <p:nvPr/>
        </p:nvGrpSpPr>
        <p:grpSpPr>
          <a:xfrm>
            <a:off x="2153006" y="2812761"/>
            <a:ext cx="287337" cy="285750"/>
            <a:chOff x="5465763" y="3068638"/>
            <a:chExt cx="287337" cy="285750"/>
          </a:xfrm>
          <a:solidFill>
            <a:schemeClr val="bg1"/>
          </a:solidFill>
          <a:effectLst>
            <a:outerShdw blurRad="50800" dist="38100" dir="5400000" algn="t" rotWithShape="0">
              <a:prstClr val="black">
                <a:alpha val="20000"/>
              </a:prstClr>
            </a:outerShdw>
          </a:effectLst>
        </p:grpSpPr>
        <p:sp>
          <p:nvSpPr>
            <p:cNvPr id="69" name="Freeform 617">
              <a:extLst>
                <a:ext uri="{FF2B5EF4-FFF2-40B4-BE49-F238E27FC236}">
                  <a16:creationId xmlns:a16="http://schemas.microsoft.com/office/drawing/2014/main" id="{A6173F81-C08A-4A17-8C9A-93E2E1B4B633}"/>
                </a:ext>
              </a:extLst>
            </p:cNvPr>
            <p:cNvSpPr>
              <a:spLocks/>
            </p:cNvSpPr>
            <p:nvPr/>
          </p:nvSpPr>
          <p:spPr bwMode="auto">
            <a:xfrm>
              <a:off x="5564188" y="3068638"/>
              <a:ext cx="119063" cy="38100"/>
            </a:xfrm>
            <a:custGeom>
              <a:avLst/>
              <a:gdLst>
                <a:gd name="T0" fmla="*/ 375 w 375"/>
                <a:gd name="T1" fmla="*/ 62 h 120"/>
                <a:gd name="T2" fmla="*/ 374 w 375"/>
                <a:gd name="T3" fmla="*/ 62 h 120"/>
                <a:gd name="T4" fmla="*/ 373 w 375"/>
                <a:gd name="T5" fmla="*/ 61 h 120"/>
                <a:gd name="T6" fmla="*/ 193 w 375"/>
                <a:gd name="T7" fmla="*/ 1 h 120"/>
                <a:gd name="T8" fmla="*/ 188 w 375"/>
                <a:gd name="T9" fmla="*/ 0 h 120"/>
                <a:gd name="T10" fmla="*/ 183 w 375"/>
                <a:gd name="T11" fmla="*/ 1 h 120"/>
                <a:gd name="T12" fmla="*/ 2 w 375"/>
                <a:gd name="T13" fmla="*/ 61 h 120"/>
                <a:gd name="T14" fmla="*/ 1 w 375"/>
                <a:gd name="T15" fmla="*/ 62 h 120"/>
                <a:gd name="T16" fmla="*/ 0 w 375"/>
                <a:gd name="T17" fmla="*/ 62 h 120"/>
                <a:gd name="T18" fmla="*/ 188 w 375"/>
                <a:gd name="T19" fmla="*/ 120 h 120"/>
                <a:gd name="T20" fmla="*/ 375 w 375"/>
                <a:gd name="T21" fmla="*/ 62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75" h="120">
                  <a:moveTo>
                    <a:pt x="375" y="62"/>
                  </a:moveTo>
                  <a:lnTo>
                    <a:pt x="374" y="62"/>
                  </a:lnTo>
                  <a:lnTo>
                    <a:pt x="373" y="61"/>
                  </a:lnTo>
                  <a:lnTo>
                    <a:pt x="193" y="1"/>
                  </a:lnTo>
                  <a:lnTo>
                    <a:pt x="188" y="0"/>
                  </a:lnTo>
                  <a:lnTo>
                    <a:pt x="183" y="1"/>
                  </a:lnTo>
                  <a:lnTo>
                    <a:pt x="2" y="61"/>
                  </a:lnTo>
                  <a:lnTo>
                    <a:pt x="1" y="62"/>
                  </a:lnTo>
                  <a:lnTo>
                    <a:pt x="0" y="62"/>
                  </a:lnTo>
                  <a:lnTo>
                    <a:pt x="188" y="120"/>
                  </a:lnTo>
                  <a:lnTo>
                    <a:pt x="375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0" name="Freeform 618">
              <a:extLst>
                <a:ext uri="{FF2B5EF4-FFF2-40B4-BE49-F238E27FC236}">
                  <a16:creationId xmlns:a16="http://schemas.microsoft.com/office/drawing/2014/main" id="{B885363C-693D-4D7B-B994-74EE7B2E2CF7}"/>
                </a:ext>
              </a:extLst>
            </p:cNvPr>
            <p:cNvSpPr>
              <a:spLocks/>
            </p:cNvSpPr>
            <p:nvPr/>
          </p:nvSpPr>
          <p:spPr bwMode="auto">
            <a:xfrm>
              <a:off x="5629275" y="3097213"/>
              <a:ext cx="57150" cy="93663"/>
            </a:xfrm>
            <a:custGeom>
              <a:avLst/>
              <a:gdLst>
                <a:gd name="T0" fmla="*/ 181 w 181"/>
                <a:gd name="T1" fmla="*/ 210 h 295"/>
                <a:gd name="T2" fmla="*/ 181 w 181"/>
                <a:gd name="T3" fmla="*/ 0 h 295"/>
                <a:gd name="T4" fmla="*/ 0 w 181"/>
                <a:gd name="T5" fmla="*/ 56 h 295"/>
                <a:gd name="T6" fmla="*/ 0 w 181"/>
                <a:gd name="T7" fmla="*/ 295 h 295"/>
                <a:gd name="T8" fmla="*/ 171 w 181"/>
                <a:gd name="T9" fmla="*/ 224 h 295"/>
                <a:gd name="T10" fmla="*/ 174 w 181"/>
                <a:gd name="T11" fmla="*/ 222 h 295"/>
                <a:gd name="T12" fmla="*/ 178 w 181"/>
                <a:gd name="T13" fmla="*/ 219 h 295"/>
                <a:gd name="T14" fmla="*/ 180 w 181"/>
                <a:gd name="T15" fmla="*/ 215 h 295"/>
                <a:gd name="T16" fmla="*/ 181 w 181"/>
                <a:gd name="T17" fmla="*/ 210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1" h="295">
                  <a:moveTo>
                    <a:pt x="181" y="210"/>
                  </a:moveTo>
                  <a:lnTo>
                    <a:pt x="181" y="0"/>
                  </a:lnTo>
                  <a:lnTo>
                    <a:pt x="0" y="56"/>
                  </a:lnTo>
                  <a:lnTo>
                    <a:pt x="0" y="295"/>
                  </a:lnTo>
                  <a:lnTo>
                    <a:pt x="171" y="224"/>
                  </a:lnTo>
                  <a:lnTo>
                    <a:pt x="174" y="222"/>
                  </a:lnTo>
                  <a:lnTo>
                    <a:pt x="178" y="219"/>
                  </a:lnTo>
                  <a:lnTo>
                    <a:pt x="180" y="215"/>
                  </a:lnTo>
                  <a:lnTo>
                    <a:pt x="181" y="2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1" name="Freeform 619">
              <a:extLst>
                <a:ext uri="{FF2B5EF4-FFF2-40B4-BE49-F238E27FC236}">
                  <a16:creationId xmlns:a16="http://schemas.microsoft.com/office/drawing/2014/main" id="{DFE4D8B4-FF7B-4ECF-B42E-465D2F32589E}"/>
                </a:ext>
              </a:extLst>
            </p:cNvPr>
            <p:cNvSpPr>
              <a:spLocks/>
            </p:cNvSpPr>
            <p:nvPr/>
          </p:nvSpPr>
          <p:spPr bwMode="auto">
            <a:xfrm>
              <a:off x="5562600" y="3097213"/>
              <a:ext cx="57150" cy="93663"/>
            </a:xfrm>
            <a:custGeom>
              <a:avLst/>
              <a:gdLst>
                <a:gd name="T0" fmla="*/ 9 w 181"/>
                <a:gd name="T1" fmla="*/ 224 h 295"/>
                <a:gd name="T2" fmla="*/ 181 w 181"/>
                <a:gd name="T3" fmla="*/ 295 h 295"/>
                <a:gd name="T4" fmla="*/ 181 w 181"/>
                <a:gd name="T5" fmla="*/ 56 h 295"/>
                <a:gd name="T6" fmla="*/ 0 w 181"/>
                <a:gd name="T7" fmla="*/ 0 h 295"/>
                <a:gd name="T8" fmla="*/ 0 w 181"/>
                <a:gd name="T9" fmla="*/ 210 h 295"/>
                <a:gd name="T10" fmla="*/ 0 w 181"/>
                <a:gd name="T11" fmla="*/ 215 h 295"/>
                <a:gd name="T12" fmla="*/ 2 w 181"/>
                <a:gd name="T13" fmla="*/ 219 h 295"/>
                <a:gd name="T14" fmla="*/ 6 w 181"/>
                <a:gd name="T15" fmla="*/ 222 h 295"/>
                <a:gd name="T16" fmla="*/ 9 w 181"/>
                <a:gd name="T17" fmla="*/ 224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1" h="295">
                  <a:moveTo>
                    <a:pt x="9" y="224"/>
                  </a:moveTo>
                  <a:lnTo>
                    <a:pt x="181" y="295"/>
                  </a:lnTo>
                  <a:lnTo>
                    <a:pt x="181" y="56"/>
                  </a:lnTo>
                  <a:lnTo>
                    <a:pt x="0" y="0"/>
                  </a:lnTo>
                  <a:lnTo>
                    <a:pt x="0" y="210"/>
                  </a:lnTo>
                  <a:lnTo>
                    <a:pt x="0" y="215"/>
                  </a:lnTo>
                  <a:lnTo>
                    <a:pt x="2" y="219"/>
                  </a:lnTo>
                  <a:lnTo>
                    <a:pt x="6" y="222"/>
                  </a:lnTo>
                  <a:lnTo>
                    <a:pt x="9" y="2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4" name="Freeform 620">
              <a:extLst>
                <a:ext uri="{FF2B5EF4-FFF2-40B4-BE49-F238E27FC236}">
                  <a16:creationId xmlns:a16="http://schemas.microsoft.com/office/drawing/2014/main" id="{4E0972EA-3798-4BEC-8E7C-6BAABD8EE043}"/>
                </a:ext>
              </a:extLst>
            </p:cNvPr>
            <p:cNvSpPr>
              <a:spLocks/>
            </p:cNvSpPr>
            <p:nvPr/>
          </p:nvSpPr>
          <p:spPr bwMode="auto">
            <a:xfrm>
              <a:off x="5705475" y="3217863"/>
              <a:ext cx="47625" cy="77788"/>
            </a:xfrm>
            <a:custGeom>
              <a:avLst/>
              <a:gdLst>
                <a:gd name="T0" fmla="*/ 0 w 150"/>
                <a:gd name="T1" fmla="*/ 67 h 249"/>
                <a:gd name="T2" fmla="*/ 0 w 150"/>
                <a:gd name="T3" fmla="*/ 249 h 249"/>
                <a:gd name="T4" fmla="*/ 141 w 150"/>
                <a:gd name="T5" fmla="*/ 177 h 249"/>
                <a:gd name="T6" fmla="*/ 146 w 150"/>
                <a:gd name="T7" fmla="*/ 175 h 249"/>
                <a:gd name="T8" fmla="*/ 148 w 150"/>
                <a:gd name="T9" fmla="*/ 171 h 249"/>
                <a:gd name="T10" fmla="*/ 149 w 150"/>
                <a:gd name="T11" fmla="*/ 168 h 249"/>
                <a:gd name="T12" fmla="*/ 150 w 150"/>
                <a:gd name="T13" fmla="*/ 164 h 249"/>
                <a:gd name="T14" fmla="*/ 150 w 150"/>
                <a:gd name="T15" fmla="*/ 0 h 249"/>
                <a:gd name="T16" fmla="*/ 0 w 150"/>
                <a:gd name="T17" fmla="*/ 67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0" h="249">
                  <a:moveTo>
                    <a:pt x="0" y="67"/>
                  </a:moveTo>
                  <a:lnTo>
                    <a:pt x="0" y="249"/>
                  </a:lnTo>
                  <a:lnTo>
                    <a:pt x="141" y="177"/>
                  </a:lnTo>
                  <a:lnTo>
                    <a:pt x="146" y="175"/>
                  </a:lnTo>
                  <a:lnTo>
                    <a:pt x="148" y="171"/>
                  </a:lnTo>
                  <a:lnTo>
                    <a:pt x="149" y="168"/>
                  </a:lnTo>
                  <a:lnTo>
                    <a:pt x="150" y="164"/>
                  </a:lnTo>
                  <a:lnTo>
                    <a:pt x="150" y="0"/>
                  </a:lnTo>
                  <a:lnTo>
                    <a:pt x="0" y="6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8" name="Freeform 621">
              <a:extLst>
                <a:ext uri="{FF2B5EF4-FFF2-40B4-BE49-F238E27FC236}">
                  <a16:creationId xmlns:a16="http://schemas.microsoft.com/office/drawing/2014/main" id="{E27511B2-D3A2-4D1A-BB54-B029AAFB9945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6263" y="3192463"/>
              <a:ext cx="88900" cy="38100"/>
            </a:xfrm>
            <a:custGeom>
              <a:avLst/>
              <a:gdLst>
                <a:gd name="T0" fmla="*/ 146 w 281"/>
                <a:gd name="T1" fmla="*/ 2 h 120"/>
                <a:gd name="T2" fmla="*/ 143 w 281"/>
                <a:gd name="T3" fmla="*/ 0 h 120"/>
                <a:gd name="T4" fmla="*/ 141 w 281"/>
                <a:gd name="T5" fmla="*/ 0 h 120"/>
                <a:gd name="T6" fmla="*/ 138 w 281"/>
                <a:gd name="T7" fmla="*/ 0 h 120"/>
                <a:gd name="T8" fmla="*/ 134 w 281"/>
                <a:gd name="T9" fmla="*/ 2 h 120"/>
                <a:gd name="T10" fmla="*/ 0 w 281"/>
                <a:gd name="T11" fmla="*/ 55 h 120"/>
                <a:gd name="T12" fmla="*/ 141 w 281"/>
                <a:gd name="T13" fmla="*/ 120 h 120"/>
                <a:gd name="T14" fmla="*/ 281 w 281"/>
                <a:gd name="T15" fmla="*/ 55 h 120"/>
                <a:gd name="T16" fmla="*/ 146 w 281"/>
                <a:gd name="T17" fmla="*/ 2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81" h="120">
                  <a:moveTo>
                    <a:pt x="146" y="2"/>
                  </a:moveTo>
                  <a:lnTo>
                    <a:pt x="143" y="0"/>
                  </a:lnTo>
                  <a:lnTo>
                    <a:pt x="141" y="0"/>
                  </a:lnTo>
                  <a:lnTo>
                    <a:pt x="138" y="0"/>
                  </a:lnTo>
                  <a:lnTo>
                    <a:pt x="134" y="2"/>
                  </a:lnTo>
                  <a:lnTo>
                    <a:pt x="0" y="55"/>
                  </a:lnTo>
                  <a:lnTo>
                    <a:pt x="141" y="120"/>
                  </a:lnTo>
                  <a:lnTo>
                    <a:pt x="281" y="55"/>
                  </a:lnTo>
                  <a:lnTo>
                    <a:pt x="146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3" name="Freeform 622">
              <a:extLst>
                <a:ext uri="{FF2B5EF4-FFF2-40B4-BE49-F238E27FC236}">
                  <a16:creationId xmlns:a16="http://schemas.microsoft.com/office/drawing/2014/main" id="{1AC44FE2-C60B-418A-B981-772781408D9D}"/>
                </a:ext>
              </a:extLst>
            </p:cNvPr>
            <p:cNvSpPr>
              <a:spLocks/>
            </p:cNvSpPr>
            <p:nvPr/>
          </p:nvSpPr>
          <p:spPr bwMode="auto">
            <a:xfrm>
              <a:off x="5648325" y="3217863"/>
              <a:ext cx="47625" cy="77788"/>
            </a:xfrm>
            <a:custGeom>
              <a:avLst/>
              <a:gdLst>
                <a:gd name="T0" fmla="*/ 0 w 151"/>
                <a:gd name="T1" fmla="*/ 164 h 249"/>
                <a:gd name="T2" fmla="*/ 1 w 151"/>
                <a:gd name="T3" fmla="*/ 167 h 249"/>
                <a:gd name="T4" fmla="*/ 2 w 151"/>
                <a:gd name="T5" fmla="*/ 171 h 249"/>
                <a:gd name="T6" fmla="*/ 5 w 151"/>
                <a:gd name="T7" fmla="*/ 175 h 249"/>
                <a:gd name="T8" fmla="*/ 8 w 151"/>
                <a:gd name="T9" fmla="*/ 177 h 249"/>
                <a:gd name="T10" fmla="*/ 151 w 151"/>
                <a:gd name="T11" fmla="*/ 249 h 249"/>
                <a:gd name="T12" fmla="*/ 151 w 151"/>
                <a:gd name="T13" fmla="*/ 67 h 249"/>
                <a:gd name="T14" fmla="*/ 0 w 151"/>
                <a:gd name="T15" fmla="*/ 0 h 249"/>
                <a:gd name="T16" fmla="*/ 0 w 151"/>
                <a:gd name="T17" fmla="*/ 164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1" h="249">
                  <a:moveTo>
                    <a:pt x="0" y="164"/>
                  </a:moveTo>
                  <a:lnTo>
                    <a:pt x="1" y="167"/>
                  </a:lnTo>
                  <a:lnTo>
                    <a:pt x="2" y="171"/>
                  </a:lnTo>
                  <a:lnTo>
                    <a:pt x="5" y="175"/>
                  </a:lnTo>
                  <a:lnTo>
                    <a:pt x="8" y="177"/>
                  </a:lnTo>
                  <a:lnTo>
                    <a:pt x="151" y="249"/>
                  </a:lnTo>
                  <a:lnTo>
                    <a:pt x="151" y="67"/>
                  </a:lnTo>
                  <a:lnTo>
                    <a:pt x="0" y="0"/>
                  </a:lnTo>
                  <a:lnTo>
                    <a:pt x="0" y="16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4" name="Freeform 623">
              <a:extLst>
                <a:ext uri="{FF2B5EF4-FFF2-40B4-BE49-F238E27FC236}">
                  <a16:creationId xmlns:a16="http://schemas.microsoft.com/office/drawing/2014/main" id="{83CD4638-8C93-4C0F-BC67-359F8334EE4D}"/>
                </a:ext>
              </a:extLst>
            </p:cNvPr>
            <p:cNvSpPr>
              <a:spLocks/>
            </p:cNvSpPr>
            <p:nvPr/>
          </p:nvSpPr>
          <p:spPr bwMode="auto">
            <a:xfrm>
              <a:off x="5475288" y="3201988"/>
              <a:ext cx="144463" cy="47625"/>
            </a:xfrm>
            <a:custGeom>
              <a:avLst/>
              <a:gdLst>
                <a:gd name="T0" fmla="*/ 231 w 452"/>
                <a:gd name="T1" fmla="*/ 2 h 151"/>
                <a:gd name="T2" fmla="*/ 225 w 452"/>
                <a:gd name="T3" fmla="*/ 0 h 151"/>
                <a:gd name="T4" fmla="*/ 221 w 452"/>
                <a:gd name="T5" fmla="*/ 2 h 151"/>
                <a:gd name="T6" fmla="*/ 0 w 452"/>
                <a:gd name="T7" fmla="*/ 70 h 151"/>
                <a:gd name="T8" fmla="*/ 225 w 452"/>
                <a:gd name="T9" fmla="*/ 151 h 151"/>
                <a:gd name="T10" fmla="*/ 452 w 452"/>
                <a:gd name="T11" fmla="*/ 70 h 151"/>
                <a:gd name="T12" fmla="*/ 231 w 452"/>
                <a:gd name="T13" fmla="*/ 2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52" h="151">
                  <a:moveTo>
                    <a:pt x="231" y="2"/>
                  </a:moveTo>
                  <a:lnTo>
                    <a:pt x="225" y="0"/>
                  </a:lnTo>
                  <a:lnTo>
                    <a:pt x="221" y="2"/>
                  </a:lnTo>
                  <a:lnTo>
                    <a:pt x="0" y="70"/>
                  </a:lnTo>
                  <a:lnTo>
                    <a:pt x="225" y="151"/>
                  </a:lnTo>
                  <a:lnTo>
                    <a:pt x="452" y="70"/>
                  </a:lnTo>
                  <a:lnTo>
                    <a:pt x="231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7" name="Freeform 624">
              <a:extLst>
                <a:ext uri="{FF2B5EF4-FFF2-40B4-BE49-F238E27FC236}">
                  <a16:creationId xmlns:a16="http://schemas.microsoft.com/office/drawing/2014/main" id="{E58A91AF-6FCD-413D-A533-7BBC1AD8F766}"/>
                </a:ext>
              </a:extLst>
            </p:cNvPr>
            <p:cNvSpPr>
              <a:spLocks/>
            </p:cNvSpPr>
            <p:nvPr/>
          </p:nvSpPr>
          <p:spPr bwMode="auto">
            <a:xfrm>
              <a:off x="5465763" y="3230563"/>
              <a:ext cx="76200" cy="123825"/>
            </a:xfrm>
            <a:custGeom>
              <a:avLst/>
              <a:gdLst>
                <a:gd name="T0" fmla="*/ 0 w 240"/>
                <a:gd name="T1" fmla="*/ 285 h 386"/>
                <a:gd name="T2" fmla="*/ 1 w 240"/>
                <a:gd name="T3" fmla="*/ 289 h 386"/>
                <a:gd name="T4" fmla="*/ 2 w 240"/>
                <a:gd name="T5" fmla="*/ 294 h 386"/>
                <a:gd name="T6" fmla="*/ 5 w 240"/>
                <a:gd name="T7" fmla="*/ 297 h 386"/>
                <a:gd name="T8" fmla="*/ 10 w 240"/>
                <a:gd name="T9" fmla="*/ 299 h 386"/>
                <a:gd name="T10" fmla="*/ 240 w 240"/>
                <a:gd name="T11" fmla="*/ 386 h 386"/>
                <a:gd name="T12" fmla="*/ 240 w 240"/>
                <a:gd name="T13" fmla="*/ 84 h 386"/>
                <a:gd name="T14" fmla="*/ 0 w 240"/>
                <a:gd name="T15" fmla="*/ 0 h 386"/>
                <a:gd name="T16" fmla="*/ 0 w 240"/>
                <a:gd name="T17" fmla="*/ 285 h 3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0" h="386">
                  <a:moveTo>
                    <a:pt x="0" y="285"/>
                  </a:moveTo>
                  <a:lnTo>
                    <a:pt x="1" y="289"/>
                  </a:lnTo>
                  <a:lnTo>
                    <a:pt x="2" y="294"/>
                  </a:lnTo>
                  <a:lnTo>
                    <a:pt x="5" y="297"/>
                  </a:lnTo>
                  <a:lnTo>
                    <a:pt x="10" y="299"/>
                  </a:lnTo>
                  <a:lnTo>
                    <a:pt x="240" y="386"/>
                  </a:lnTo>
                  <a:lnTo>
                    <a:pt x="240" y="84"/>
                  </a:lnTo>
                  <a:lnTo>
                    <a:pt x="0" y="0"/>
                  </a:lnTo>
                  <a:lnTo>
                    <a:pt x="0" y="28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8" name="Freeform 625">
              <a:extLst>
                <a:ext uri="{FF2B5EF4-FFF2-40B4-BE49-F238E27FC236}">
                  <a16:creationId xmlns:a16="http://schemas.microsoft.com/office/drawing/2014/main" id="{30D88102-985A-4BF7-A507-3FBFD5794DE9}"/>
                </a:ext>
              </a:extLst>
            </p:cNvPr>
            <p:cNvSpPr>
              <a:spLocks/>
            </p:cNvSpPr>
            <p:nvPr/>
          </p:nvSpPr>
          <p:spPr bwMode="auto">
            <a:xfrm>
              <a:off x="5553075" y="3230563"/>
              <a:ext cx="76200" cy="123825"/>
            </a:xfrm>
            <a:custGeom>
              <a:avLst/>
              <a:gdLst>
                <a:gd name="T0" fmla="*/ 0 w 241"/>
                <a:gd name="T1" fmla="*/ 386 h 386"/>
                <a:gd name="T2" fmla="*/ 231 w 241"/>
                <a:gd name="T3" fmla="*/ 299 h 386"/>
                <a:gd name="T4" fmla="*/ 235 w 241"/>
                <a:gd name="T5" fmla="*/ 297 h 386"/>
                <a:gd name="T6" fmla="*/ 238 w 241"/>
                <a:gd name="T7" fmla="*/ 294 h 386"/>
                <a:gd name="T8" fmla="*/ 239 w 241"/>
                <a:gd name="T9" fmla="*/ 289 h 386"/>
                <a:gd name="T10" fmla="*/ 241 w 241"/>
                <a:gd name="T11" fmla="*/ 285 h 386"/>
                <a:gd name="T12" fmla="*/ 241 w 241"/>
                <a:gd name="T13" fmla="*/ 0 h 386"/>
                <a:gd name="T14" fmla="*/ 0 w 241"/>
                <a:gd name="T15" fmla="*/ 84 h 386"/>
                <a:gd name="T16" fmla="*/ 0 w 241"/>
                <a:gd name="T17" fmla="*/ 386 h 3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1" h="386">
                  <a:moveTo>
                    <a:pt x="0" y="386"/>
                  </a:moveTo>
                  <a:lnTo>
                    <a:pt x="231" y="299"/>
                  </a:lnTo>
                  <a:lnTo>
                    <a:pt x="235" y="297"/>
                  </a:lnTo>
                  <a:lnTo>
                    <a:pt x="238" y="294"/>
                  </a:lnTo>
                  <a:lnTo>
                    <a:pt x="239" y="289"/>
                  </a:lnTo>
                  <a:lnTo>
                    <a:pt x="241" y="285"/>
                  </a:lnTo>
                  <a:lnTo>
                    <a:pt x="241" y="0"/>
                  </a:lnTo>
                  <a:lnTo>
                    <a:pt x="0" y="84"/>
                  </a:lnTo>
                  <a:lnTo>
                    <a:pt x="0" y="38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19" name="Group 118">
            <a:extLst>
              <a:ext uri="{FF2B5EF4-FFF2-40B4-BE49-F238E27FC236}">
                <a16:creationId xmlns:a16="http://schemas.microsoft.com/office/drawing/2014/main" id="{85C86E19-A5FD-4A9A-9BEA-F8AA98C3D410}"/>
              </a:ext>
            </a:extLst>
          </p:cNvPr>
          <p:cNvGrpSpPr/>
          <p:nvPr/>
        </p:nvGrpSpPr>
        <p:grpSpPr>
          <a:xfrm>
            <a:off x="1260596" y="1875088"/>
            <a:ext cx="247650" cy="257175"/>
            <a:chOff x="4338638" y="803275"/>
            <a:chExt cx="247650" cy="257175"/>
          </a:xfrm>
          <a:solidFill>
            <a:schemeClr val="bg1"/>
          </a:solidFill>
          <a:effectLst>
            <a:outerShdw blurRad="50800" dist="38100" dir="5400000" algn="t" rotWithShape="0">
              <a:prstClr val="black">
                <a:alpha val="20000"/>
              </a:prstClr>
            </a:outerShdw>
          </a:effectLst>
        </p:grpSpPr>
        <p:sp>
          <p:nvSpPr>
            <p:cNvPr id="120" name="Freeform 670">
              <a:extLst>
                <a:ext uri="{FF2B5EF4-FFF2-40B4-BE49-F238E27FC236}">
                  <a16:creationId xmlns:a16="http://schemas.microsoft.com/office/drawing/2014/main" id="{AC56A693-50FC-45A3-87C6-122129F7FA0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57688" y="803275"/>
              <a:ext cx="228600" cy="257175"/>
            </a:xfrm>
            <a:custGeom>
              <a:avLst/>
              <a:gdLst>
                <a:gd name="T0" fmla="*/ 692 w 722"/>
                <a:gd name="T1" fmla="*/ 90 h 812"/>
                <a:gd name="T2" fmla="*/ 602 w 722"/>
                <a:gd name="T3" fmla="*/ 240 h 812"/>
                <a:gd name="T4" fmla="*/ 602 w 722"/>
                <a:gd name="T5" fmla="*/ 512 h 812"/>
                <a:gd name="T6" fmla="*/ 692 w 722"/>
                <a:gd name="T7" fmla="*/ 662 h 812"/>
                <a:gd name="T8" fmla="*/ 692 w 722"/>
                <a:gd name="T9" fmla="*/ 662 h 812"/>
                <a:gd name="T10" fmla="*/ 448 w 722"/>
                <a:gd name="T11" fmla="*/ 354 h 812"/>
                <a:gd name="T12" fmla="*/ 440 w 722"/>
                <a:gd name="T13" fmla="*/ 360 h 812"/>
                <a:gd name="T14" fmla="*/ 190 w 722"/>
                <a:gd name="T15" fmla="*/ 359 h 812"/>
                <a:gd name="T16" fmla="*/ 181 w 722"/>
                <a:gd name="T17" fmla="*/ 352 h 812"/>
                <a:gd name="T18" fmla="*/ 180 w 722"/>
                <a:gd name="T19" fmla="*/ 162 h 812"/>
                <a:gd name="T20" fmla="*/ 187 w 722"/>
                <a:gd name="T21" fmla="*/ 152 h 812"/>
                <a:gd name="T22" fmla="*/ 436 w 722"/>
                <a:gd name="T23" fmla="*/ 150 h 812"/>
                <a:gd name="T24" fmla="*/ 447 w 722"/>
                <a:gd name="T25" fmla="*/ 155 h 812"/>
                <a:gd name="T26" fmla="*/ 451 w 722"/>
                <a:gd name="T27" fmla="*/ 165 h 812"/>
                <a:gd name="T28" fmla="*/ 602 w 722"/>
                <a:gd name="T29" fmla="*/ 15 h 812"/>
                <a:gd name="T30" fmla="*/ 597 w 722"/>
                <a:gd name="T31" fmla="*/ 4 h 812"/>
                <a:gd name="T32" fmla="*/ 587 w 722"/>
                <a:gd name="T33" fmla="*/ 0 h 812"/>
                <a:gd name="T34" fmla="*/ 6 w 722"/>
                <a:gd name="T35" fmla="*/ 2 h 812"/>
                <a:gd name="T36" fmla="*/ 0 w 722"/>
                <a:gd name="T37" fmla="*/ 12 h 812"/>
                <a:gd name="T38" fmla="*/ 84 w 722"/>
                <a:gd name="T39" fmla="*/ 61 h 812"/>
                <a:gd name="T40" fmla="*/ 113 w 722"/>
                <a:gd name="T41" fmla="*/ 79 h 812"/>
                <a:gd name="T42" fmla="*/ 119 w 722"/>
                <a:gd name="T43" fmla="*/ 114 h 812"/>
                <a:gd name="T44" fmla="*/ 100 w 722"/>
                <a:gd name="T45" fmla="*/ 143 h 812"/>
                <a:gd name="T46" fmla="*/ 0 w 722"/>
                <a:gd name="T47" fmla="*/ 150 h 812"/>
                <a:gd name="T48" fmla="*/ 92 w 722"/>
                <a:gd name="T49" fmla="*/ 183 h 812"/>
                <a:gd name="T50" fmla="*/ 117 w 722"/>
                <a:gd name="T51" fmla="*/ 208 h 812"/>
                <a:gd name="T52" fmla="*/ 117 w 722"/>
                <a:gd name="T53" fmla="*/ 242 h 812"/>
                <a:gd name="T54" fmla="*/ 92 w 722"/>
                <a:gd name="T55" fmla="*/ 267 h 812"/>
                <a:gd name="T56" fmla="*/ 0 w 722"/>
                <a:gd name="T57" fmla="*/ 300 h 812"/>
                <a:gd name="T58" fmla="*/ 100 w 722"/>
                <a:gd name="T59" fmla="*/ 308 h 812"/>
                <a:gd name="T60" fmla="*/ 119 w 722"/>
                <a:gd name="T61" fmla="*/ 337 h 812"/>
                <a:gd name="T62" fmla="*/ 113 w 722"/>
                <a:gd name="T63" fmla="*/ 371 h 812"/>
                <a:gd name="T64" fmla="*/ 84 w 722"/>
                <a:gd name="T65" fmla="*/ 390 h 812"/>
                <a:gd name="T66" fmla="*/ 75 w 722"/>
                <a:gd name="T67" fmla="*/ 422 h 812"/>
                <a:gd name="T68" fmla="*/ 107 w 722"/>
                <a:gd name="T69" fmla="*/ 434 h 812"/>
                <a:gd name="T70" fmla="*/ 120 w 722"/>
                <a:gd name="T71" fmla="*/ 467 h 812"/>
                <a:gd name="T72" fmla="*/ 107 w 722"/>
                <a:gd name="T73" fmla="*/ 498 h 812"/>
                <a:gd name="T74" fmla="*/ 75 w 722"/>
                <a:gd name="T75" fmla="*/ 512 h 812"/>
                <a:gd name="T76" fmla="*/ 84 w 722"/>
                <a:gd name="T77" fmla="*/ 543 h 812"/>
                <a:gd name="T78" fmla="*/ 113 w 722"/>
                <a:gd name="T79" fmla="*/ 561 h 812"/>
                <a:gd name="T80" fmla="*/ 119 w 722"/>
                <a:gd name="T81" fmla="*/ 595 h 812"/>
                <a:gd name="T82" fmla="*/ 100 w 722"/>
                <a:gd name="T83" fmla="*/ 624 h 812"/>
                <a:gd name="T84" fmla="*/ 0 w 722"/>
                <a:gd name="T85" fmla="*/ 632 h 812"/>
                <a:gd name="T86" fmla="*/ 92 w 722"/>
                <a:gd name="T87" fmla="*/ 665 h 812"/>
                <a:gd name="T88" fmla="*/ 117 w 722"/>
                <a:gd name="T89" fmla="*/ 690 h 812"/>
                <a:gd name="T90" fmla="*/ 117 w 722"/>
                <a:gd name="T91" fmla="*/ 725 h 812"/>
                <a:gd name="T92" fmla="*/ 92 w 722"/>
                <a:gd name="T93" fmla="*/ 749 h 812"/>
                <a:gd name="T94" fmla="*/ 0 w 722"/>
                <a:gd name="T95" fmla="*/ 797 h 812"/>
                <a:gd name="T96" fmla="*/ 4 w 722"/>
                <a:gd name="T97" fmla="*/ 808 h 812"/>
                <a:gd name="T98" fmla="*/ 15 w 722"/>
                <a:gd name="T99" fmla="*/ 812 h 812"/>
                <a:gd name="T100" fmla="*/ 595 w 722"/>
                <a:gd name="T101" fmla="*/ 810 h 812"/>
                <a:gd name="T102" fmla="*/ 602 w 722"/>
                <a:gd name="T103" fmla="*/ 800 h 812"/>
                <a:gd name="T104" fmla="*/ 710 w 722"/>
                <a:gd name="T105" fmla="*/ 692 h 812"/>
                <a:gd name="T106" fmla="*/ 720 w 722"/>
                <a:gd name="T107" fmla="*/ 685 h 812"/>
                <a:gd name="T108" fmla="*/ 722 w 722"/>
                <a:gd name="T109" fmla="*/ 527 h 812"/>
                <a:gd name="T110" fmla="*/ 722 w 722"/>
                <a:gd name="T111" fmla="*/ 72 h 812"/>
                <a:gd name="T112" fmla="*/ 715 w 722"/>
                <a:gd name="T113" fmla="*/ 62 h 8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22" h="812">
                  <a:moveTo>
                    <a:pt x="692" y="210"/>
                  </a:moveTo>
                  <a:lnTo>
                    <a:pt x="602" y="210"/>
                  </a:lnTo>
                  <a:lnTo>
                    <a:pt x="602" y="90"/>
                  </a:lnTo>
                  <a:lnTo>
                    <a:pt x="692" y="90"/>
                  </a:lnTo>
                  <a:lnTo>
                    <a:pt x="692" y="210"/>
                  </a:lnTo>
                  <a:close/>
                  <a:moveTo>
                    <a:pt x="692" y="360"/>
                  </a:moveTo>
                  <a:lnTo>
                    <a:pt x="602" y="360"/>
                  </a:lnTo>
                  <a:lnTo>
                    <a:pt x="602" y="240"/>
                  </a:lnTo>
                  <a:lnTo>
                    <a:pt x="692" y="240"/>
                  </a:lnTo>
                  <a:lnTo>
                    <a:pt x="692" y="360"/>
                  </a:lnTo>
                  <a:close/>
                  <a:moveTo>
                    <a:pt x="692" y="512"/>
                  </a:moveTo>
                  <a:lnTo>
                    <a:pt x="602" y="512"/>
                  </a:lnTo>
                  <a:lnTo>
                    <a:pt x="602" y="390"/>
                  </a:lnTo>
                  <a:lnTo>
                    <a:pt x="692" y="390"/>
                  </a:lnTo>
                  <a:lnTo>
                    <a:pt x="692" y="512"/>
                  </a:lnTo>
                  <a:close/>
                  <a:moveTo>
                    <a:pt x="692" y="662"/>
                  </a:moveTo>
                  <a:lnTo>
                    <a:pt x="602" y="662"/>
                  </a:lnTo>
                  <a:lnTo>
                    <a:pt x="602" y="542"/>
                  </a:lnTo>
                  <a:lnTo>
                    <a:pt x="692" y="542"/>
                  </a:lnTo>
                  <a:lnTo>
                    <a:pt x="692" y="662"/>
                  </a:lnTo>
                  <a:close/>
                  <a:moveTo>
                    <a:pt x="451" y="345"/>
                  </a:moveTo>
                  <a:lnTo>
                    <a:pt x="451" y="349"/>
                  </a:lnTo>
                  <a:lnTo>
                    <a:pt x="450" y="352"/>
                  </a:lnTo>
                  <a:lnTo>
                    <a:pt x="448" y="354"/>
                  </a:lnTo>
                  <a:lnTo>
                    <a:pt x="447" y="356"/>
                  </a:lnTo>
                  <a:lnTo>
                    <a:pt x="445" y="358"/>
                  </a:lnTo>
                  <a:lnTo>
                    <a:pt x="442" y="359"/>
                  </a:lnTo>
                  <a:lnTo>
                    <a:pt x="440" y="360"/>
                  </a:lnTo>
                  <a:lnTo>
                    <a:pt x="436" y="360"/>
                  </a:lnTo>
                  <a:lnTo>
                    <a:pt x="195" y="360"/>
                  </a:lnTo>
                  <a:lnTo>
                    <a:pt x="192" y="360"/>
                  </a:lnTo>
                  <a:lnTo>
                    <a:pt x="190" y="359"/>
                  </a:lnTo>
                  <a:lnTo>
                    <a:pt x="187" y="358"/>
                  </a:lnTo>
                  <a:lnTo>
                    <a:pt x="184" y="356"/>
                  </a:lnTo>
                  <a:lnTo>
                    <a:pt x="183" y="354"/>
                  </a:lnTo>
                  <a:lnTo>
                    <a:pt x="181" y="352"/>
                  </a:lnTo>
                  <a:lnTo>
                    <a:pt x="180" y="349"/>
                  </a:lnTo>
                  <a:lnTo>
                    <a:pt x="180" y="345"/>
                  </a:lnTo>
                  <a:lnTo>
                    <a:pt x="180" y="165"/>
                  </a:lnTo>
                  <a:lnTo>
                    <a:pt x="180" y="162"/>
                  </a:lnTo>
                  <a:lnTo>
                    <a:pt x="181" y="160"/>
                  </a:lnTo>
                  <a:lnTo>
                    <a:pt x="183" y="157"/>
                  </a:lnTo>
                  <a:lnTo>
                    <a:pt x="184" y="155"/>
                  </a:lnTo>
                  <a:lnTo>
                    <a:pt x="187" y="152"/>
                  </a:lnTo>
                  <a:lnTo>
                    <a:pt x="190" y="151"/>
                  </a:lnTo>
                  <a:lnTo>
                    <a:pt x="192" y="150"/>
                  </a:lnTo>
                  <a:lnTo>
                    <a:pt x="195" y="150"/>
                  </a:lnTo>
                  <a:lnTo>
                    <a:pt x="436" y="150"/>
                  </a:lnTo>
                  <a:lnTo>
                    <a:pt x="440" y="150"/>
                  </a:lnTo>
                  <a:lnTo>
                    <a:pt x="442" y="151"/>
                  </a:lnTo>
                  <a:lnTo>
                    <a:pt x="445" y="152"/>
                  </a:lnTo>
                  <a:lnTo>
                    <a:pt x="447" y="155"/>
                  </a:lnTo>
                  <a:lnTo>
                    <a:pt x="448" y="157"/>
                  </a:lnTo>
                  <a:lnTo>
                    <a:pt x="450" y="160"/>
                  </a:lnTo>
                  <a:lnTo>
                    <a:pt x="451" y="162"/>
                  </a:lnTo>
                  <a:lnTo>
                    <a:pt x="451" y="165"/>
                  </a:lnTo>
                  <a:lnTo>
                    <a:pt x="451" y="345"/>
                  </a:lnTo>
                  <a:close/>
                  <a:moveTo>
                    <a:pt x="707" y="60"/>
                  </a:moveTo>
                  <a:lnTo>
                    <a:pt x="602" y="60"/>
                  </a:lnTo>
                  <a:lnTo>
                    <a:pt x="602" y="15"/>
                  </a:lnTo>
                  <a:lnTo>
                    <a:pt x="602" y="12"/>
                  </a:lnTo>
                  <a:lnTo>
                    <a:pt x="600" y="9"/>
                  </a:lnTo>
                  <a:lnTo>
                    <a:pt x="599" y="7"/>
                  </a:lnTo>
                  <a:lnTo>
                    <a:pt x="597" y="4"/>
                  </a:lnTo>
                  <a:lnTo>
                    <a:pt x="595" y="2"/>
                  </a:lnTo>
                  <a:lnTo>
                    <a:pt x="593" y="1"/>
                  </a:lnTo>
                  <a:lnTo>
                    <a:pt x="590" y="0"/>
                  </a:lnTo>
                  <a:lnTo>
                    <a:pt x="587" y="0"/>
                  </a:lnTo>
                  <a:lnTo>
                    <a:pt x="15" y="0"/>
                  </a:lnTo>
                  <a:lnTo>
                    <a:pt x="12" y="0"/>
                  </a:lnTo>
                  <a:lnTo>
                    <a:pt x="8" y="1"/>
                  </a:lnTo>
                  <a:lnTo>
                    <a:pt x="6" y="2"/>
                  </a:lnTo>
                  <a:lnTo>
                    <a:pt x="4" y="4"/>
                  </a:lnTo>
                  <a:lnTo>
                    <a:pt x="2" y="7"/>
                  </a:lnTo>
                  <a:lnTo>
                    <a:pt x="1" y="9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60"/>
                  </a:lnTo>
                  <a:lnTo>
                    <a:pt x="75" y="60"/>
                  </a:lnTo>
                  <a:lnTo>
                    <a:pt x="84" y="61"/>
                  </a:lnTo>
                  <a:lnTo>
                    <a:pt x="92" y="63"/>
                  </a:lnTo>
                  <a:lnTo>
                    <a:pt x="100" y="68"/>
                  </a:lnTo>
                  <a:lnTo>
                    <a:pt x="107" y="73"/>
                  </a:lnTo>
                  <a:lnTo>
                    <a:pt x="113" y="79"/>
                  </a:lnTo>
                  <a:lnTo>
                    <a:pt x="117" y="87"/>
                  </a:lnTo>
                  <a:lnTo>
                    <a:pt x="119" y="96"/>
                  </a:lnTo>
                  <a:lnTo>
                    <a:pt x="120" y="105"/>
                  </a:lnTo>
                  <a:lnTo>
                    <a:pt x="119" y="114"/>
                  </a:lnTo>
                  <a:lnTo>
                    <a:pt x="117" y="122"/>
                  </a:lnTo>
                  <a:lnTo>
                    <a:pt x="113" y="130"/>
                  </a:lnTo>
                  <a:lnTo>
                    <a:pt x="107" y="137"/>
                  </a:lnTo>
                  <a:lnTo>
                    <a:pt x="100" y="143"/>
                  </a:lnTo>
                  <a:lnTo>
                    <a:pt x="92" y="147"/>
                  </a:lnTo>
                  <a:lnTo>
                    <a:pt x="84" y="149"/>
                  </a:lnTo>
                  <a:lnTo>
                    <a:pt x="75" y="150"/>
                  </a:lnTo>
                  <a:lnTo>
                    <a:pt x="0" y="150"/>
                  </a:lnTo>
                  <a:lnTo>
                    <a:pt x="0" y="180"/>
                  </a:lnTo>
                  <a:lnTo>
                    <a:pt x="75" y="180"/>
                  </a:lnTo>
                  <a:lnTo>
                    <a:pt x="84" y="181"/>
                  </a:lnTo>
                  <a:lnTo>
                    <a:pt x="92" y="183"/>
                  </a:lnTo>
                  <a:lnTo>
                    <a:pt x="100" y="188"/>
                  </a:lnTo>
                  <a:lnTo>
                    <a:pt x="107" y="193"/>
                  </a:lnTo>
                  <a:lnTo>
                    <a:pt x="113" y="201"/>
                  </a:lnTo>
                  <a:lnTo>
                    <a:pt x="117" y="208"/>
                  </a:lnTo>
                  <a:lnTo>
                    <a:pt x="119" y="217"/>
                  </a:lnTo>
                  <a:lnTo>
                    <a:pt x="120" y="225"/>
                  </a:lnTo>
                  <a:lnTo>
                    <a:pt x="119" y="235"/>
                  </a:lnTo>
                  <a:lnTo>
                    <a:pt x="117" y="242"/>
                  </a:lnTo>
                  <a:lnTo>
                    <a:pt x="113" y="251"/>
                  </a:lnTo>
                  <a:lnTo>
                    <a:pt x="107" y="257"/>
                  </a:lnTo>
                  <a:lnTo>
                    <a:pt x="100" y="263"/>
                  </a:lnTo>
                  <a:lnTo>
                    <a:pt x="92" y="267"/>
                  </a:lnTo>
                  <a:lnTo>
                    <a:pt x="84" y="269"/>
                  </a:lnTo>
                  <a:lnTo>
                    <a:pt x="75" y="270"/>
                  </a:lnTo>
                  <a:lnTo>
                    <a:pt x="0" y="270"/>
                  </a:lnTo>
                  <a:lnTo>
                    <a:pt x="0" y="300"/>
                  </a:lnTo>
                  <a:lnTo>
                    <a:pt x="75" y="300"/>
                  </a:lnTo>
                  <a:lnTo>
                    <a:pt x="84" y="301"/>
                  </a:lnTo>
                  <a:lnTo>
                    <a:pt x="92" y="305"/>
                  </a:lnTo>
                  <a:lnTo>
                    <a:pt x="100" y="308"/>
                  </a:lnTo>
                  <a:lnTo>
                    <a:pt x="107" y="314"/>
                  </a:lnTo>
                  <a:lnTo>
                    <a:pt x="113" y="321"/>
                  </a:lnTo>
                  <a:lnTo>
                    <a:pt x="117" y="328"/>
                  </a:lnTo>
                  <a:lnTo>
                    <a:pt x="119" y="337"/>
                  </a:lnTo>
                  <a:lnTo>
                    <a:pt x="120" y="345"/>
                  </a:lnTo>
                  <a:lnTo>
                    <a:pt x="119" y="355"/>
                  </a:lnTo>
                  <a:lnTo>
                    <a:pt x="117" y="364"/>
                  </a:lnTo>
                  <a:lnTo>
                    <a:pt x="113" y="371"/>
                  </a:lnTo>
                  <a:lnTo>
                    <a:pt x="107" y="378"/>
                  </a:lnTo>
                  <a:lnTo>
                    <a:pt x="100" y="383"/>
                  </a:lnTo>
                  <a:lnTo>
                    <a:pt x="92" y="387"/>
                  </a:lnTo>
                  <a:lnTo>
                    <a:pt x="84" y="390"/>
                  </a:lnTo>
                  <a:lnTo>
                    <a:pt x="75" y="392"/>
                  </a:lnTo>
                  <a:lnTo>
                    <a:pt x="0" y="390"/>
                  </a:lnTo>
                  <a:lnTo>
                    <a:pt x="0" y="422"/>
                  </a:lnTo>
                  <a:lnTo>
                    <a:pt x="75" y="422"/>
                  </a:lnTo>
                  <a:lnTo>
                    <a:pt x="84" y="422"/>
                  </a:lnTo>
                  <a:lnTo>
                    <a:pt x="92" y="425"/>
                  </a:lnTo>
                  <a:lnTo>
                    <a:pt x="100" y="429"/>
                  </a:lnTo>
                  <a:lnTo>
                    <a:pt x="107" y="434"/>
                  </a:lnTo>
                  <a:lnTo>
                    <a:pt x="113" y="441"/>
                  </a:lnTo>
                  <a:lnTo>
                    <a:pt x="117" y="448"/>
                  </a:lnTo>
                  <a:lnTo>
                    <a:pt x="119" y="457"/>
                  </a:lnTo>
                  <a:lnTo>
                    <a:pt x="120" y="467"/>
                  </a:lnTo>
                  <a:lnTo>
                    <a:pt x="119" y="475"/>
                  </a:lnTo>
                  <a:lnTo>
                    <a:pt x="117" y="484"/>
                  </a:lnTo>
                  <a:lnTo>
                    <a:pt x="113" y="491"/>
                  </a:lnTo>
                  <a:lnTo>
                    <a:pt x="107" y="498"/>
                  </a:lnTo>
                  <a:lnTo>
                    <a:pt x="100" y="504"/>
                  </a:lnTo>
                  <a:lnTo>
                    <a:pt x="92" y="507"/>
                  </a:lnTo>
                  <a:lnTo>
                    <a:pt x="84" y="511"/>
                  </a:lnTo>
                  <a:lnTo>
                    <a:pt x="75" y="512"/>
                  </a:lnTo>
                  <a:lnTo>
                    <a:pt x="0" y="512"/>
                  </a:lnTo>
                  <a:lnTo>
                    <a:pt x="0" y="542"/>
                  </a:lnTo>
                  <a:lnTo>
                    <a:pt x="75" y="542"/>
                  </a:lnTo>
                  <a:lnTo>
                    <a:pt x="84" y="543"/>
                  </a:lnTo>
                  <a:lnTo>
                    <a:pt x="92" y="545"/>
                  </a:lnTo>
                  <a:lnTo>
                    <a:pt x="100" y="549"/>
                  </a:lnTo>
                  <a:lnTo>
                    <a:pt x="107" y="555"/>
                  </a:lnTo>
                  <a:lnTo>
                    <a:pt x="113" y="561"/>
                  </a:lnTo>
                  <a:lnTo>
                    <a:pt x="117" y="570"/>
                  </a:lnTo>
                  <a:lnTo>
                    <a:pt x="119" y="577"/>
                  </a:lnTo>
                  <a:lnTo>
                    <a:pt x="120" y="587"/>
                  </a:lnTo>
                  <a:lnTo>
                    <a:pt x="119" y="595"/>
                  </a:lnTo>
                  <a:lnTo>
                    <a:pt x="117" y="604"/>
                  </a:lnTo>
                  <a:lnTo>
                    <a:pt x="113" y="611"/>
                  </a:lnTo>
                  <a:lnTo>
                    <a:pt x="107" y="619"/>
                  </a:lnTo>
                  <a:lnTo>
                    <a:pt x="100" y="624"/>
                  </a:lnTo>
                  <a:lnTo>
                    <a:pt x="92" y="629"/>
                  </a:lnTo>
                  <a:lnTo>
                    <a:pt x="84" y="631"/>
                  </a:lnTo>
                  <a:lnTo>
                    <a:pt x="75" y="632"/>
                  </a:lnTo>
                  <a:lnTo>
                    <a:pt x="0" y="632"/>
                  </a:lnTo>
                  <a:lnTo>
                    <a:pt x="0" y="662"/>
                  </a:lnTo>
                  <a:lnTo>
                    <a:pt x="75" y="662"/>
                  </a:lnTo>
                  <a:lnTo>
                    <a:pt x="84" y="663"/>
                  </a:lnTo>
                  <a:lnTo>
                    <a:pt x="92" y="665"/>
                  </a:lnTo>
                  <a:lnTo>
                    <a:pt x="100" y="669"/>
                  </a:lnTo>
                  <a:lnTo>
                    <a:pt x="107" y="675"/>
                  </a:lnTo>
                  <a:lnTo>
                    <a:pt x="113" y="682"/>
                  </a:lnTo>
                  <a:lnTo>
                    <a:pt x="117" y="690"/>
                  </a:lnTo>
                  <a:lnTo>
                    <a:pt x="119" y="698"/>
                  </a:lnTo>
                  <a:lnTo>
                    <a:pt x="120" y="707"/>
                  </a:lnTo>
                  <a:lnTo>
                    <a:pt x="119" y="717"/>
                  </a:lnTo>
                  <a:lnTo>
                    <a:pt x="117" y="725"/>
                  </a:lnTo>
                  <a:lnTo>
                    <a:pt x="113" y="733"/>
                  </a:lnTo>
                  <a:lnTo>
                    <a:pt x="107" y="739"/>
                  </a:lnTo>
                  <a:lnTo>
                    <a:pt x="100" y="744"/>
                  </a:lnTo>
                  <a:lnTo>
                    <a:pt x="92" y="749"/>
                  </a:lnTo>
                  <a:lnTo>
                    <a:pt x="84" y="751"/>
                  </a:lnTo>
                  <a:lnTo>
                    <a:pt x="75" y="752"/>
                  </a:lnTo>
                  <a:lnTo>
                    <a:pt x="0" y="752"/>
                  </a:lnTo>
                  <a:lnTo>
                    <a:pt x="0" y="797"/>
                  </a:lnTo>
                  <a:lnTo>
                    <a:pt x="0" y="800"/>
                  </a:lnTo>
                  <a:lnTo>
                    <a:pt x="1" y="803"/>
                  </a:lnTo>
                  <a:lnTo>
                    <a:pt x="2" y="806"/>
                  </a:lnTo>
                  <a:lnTo>
                    <a:pt x="4" y="808"/>
                  </a:lnTo>
                  <a:lnTo>
                    <a:pt x="6" y="810"/>
                  </a:lnTo>
                  <a:lnTo>
                    <a:pt x="8" y="811"/>
                  </a:lnTo>
                  <a:lnTo>
                    <a:pt x="12" y="812"/>
                  </a:lnTo>
                  <a:lnTo>
                    <a:pt x="15" y="812"/>
                  </a:lnTo>
                  <a:lnTo>
                    <a:pt x="587" y="812"/>
                  </a:lnTo>
                  <a:lnTo>
                    <a:pt x="590" y="812"/>
                  </a:lnTo>
                  <a:lnTo>
                    <a:pt x="593" y="811"/>
                  </a:lnTo>
                  <a:lnTo>
                    <a:pt x="595" y="810"/>
                  </a:lnTo>
                  <a:lnTo>
                    <a:pt x="597" y="808"/>
                  </a:lnTo>
                  <a:lnTo>
                    <a:pt x="599" y="806"/>
                  </a:lnTo>
                  <a:lnTo>
                    <a:pt x="600" y="803"/>
                  </a:lnTo>
                  <a:lnTo>
                    <a:pt x="602" y="800"/>
                  </a:lnTo>
                  <a:lnTo>
                    <a:pt x="602" y="797"/>
                  </a:lnTo>
                  <a:lnTo>
                    <a:pt x="602" y="692"/>
                  </a:lnTo>
                  <a:lnTo>
                    <a:pt x="707" y="692"/>
                  </a:lnTo>
                  <a:lnTo>
                    <a:pt x="710" y="692"/>
                  </a:lnTo>
                  <a:lnTo>
                    <a:pt x="713" y="691"/>
                  </a:lnTo>
                  <a:lnTo>
                    <a:pt x="715" y="690"/>
                  </a:lnTo>
                  <a:lnTo>
                    <a:pt x="717" y="688"/>
                  </a:lnTo>
                  <a:lnTo>
                    <a:pt x="720" y="685"/>
                  </a:lnTo>
                  <a:lnTo>
                    <a:pt x="721" y="683"/>
                  </a:lnTo>
                  <a:lnTo>
                    <a:pt x="722" y="680"/>
                  </a:lnTo>
                  <a:lnTo>
                    <a:pt x="722" y="677"/>
                  </a:lnTo>
                  <a:lnTo>
                    <a:pt x="722" y="527"/>
                  </a:lnTo>
                  <a:lnTo>
                    <a:pt x="722" y="375"/>
                  </a:lnTo>
                  <a:lnTo>
                    <a:pt x="722" y="225"/>
                  </a:lnTo>
                  <a:lnTo>
                    <a:pt x="722" y="75"/>
                  </a:lnTo>
                  <a:lnTo>
                    <a:pt x="722" y="72"/>
                  </a:lnTo>
                  <a:lnTo>
                    <a:pt x="721" y="69"/>
                  </a:lnTo>
                  <a:lnTo>
                    <a:pt x="720" y="67"/>
                  </a:lnTo>
                  <a:lnTo>
                    <a:pt x="717" y="64"/>
                  </a:lnTo>
                  <a:lnTo>
                    <a:pt x="715" y="62"/>
                  </a:lnTo>
                  <a:lnTo>
                    <a:pt x="713" y="61"/>
                  </a:lnTo>
                  <a:lnTo>
                    <a:pt x="710" y="60"/>
                  </a:lnTo>
                  <a:lnTo>
                    <a:pt x="707" y="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1" name="Freeform 671">
              <a:extLst>
                <a:ext uri="{FF2B5EF4-FFF2-40B4-BE49-F238E27FC236}">
                  <a16:creationId xmlns:a16="http://schemas.microsoft.com/office/drawing/2014/main" id="{1A796125-C6E9-4F3B-804B-756456FEC8AA}"/>
                </a:ext>
              </a:extLst>
            </p:cNvPr>
            <p:cNvSpPr>
              <a:spLocks/>
            </p:cNvSpPr>
            <p:nvPr/>
          </p:nvSpPr>
          <p:spPr bwMode="auto">
            <a:xfrm>
              <a:off x="4338638" y="1022350"/>
              <a:ext cx="47625" cy="9525"/>
            </a:xfrm>
            <a:custGeom>
              <a:avLst/>
              <a:gdLst>
                <a:gd name="T0" fmla="*/ 150 w 150"/>
                <a:gd name="T1" fmla="*/ 15 h 30"/>
                <a:gd name="T2" fmla="*/ 150 w 150"/>
                <a:gd name="T3" fmla="*/ 12 h 30"/>
                <a:gd name="T4" fmla="*/ 149 w 150"/>
                <a:gd name="T5" fmla="*/ 10 h 30"/>
                <a:gd name="T6" fmla="*/ 148 w 150"/>
                <a:gd name="T7" fmla="*/ 6 h 30"/>
                <a:gd name="T8" fmla="*/ 146 w 150"/>
                <a:gd name="T9" fmla="*/ 4 h 30"/>
                <a:gd name="T10" fmla="*/ 144 w 150"/>
                <a:gd name="T11" fmla="*/ 3 h 30"/>
                <a:gd name="T12" fmla="*/ 140 w 150"/>
                <a:gd name="T13" fmla="*/ 1 h 30"/>
                <a:gd name="T14" fmla="*/ 138 w 150"/>
                <a:gd name="T15" fmla="*/ 0 h 30"/>
                <a:gd name="T16" fmla="*/ 135 w 150"/>
                <a:gd name="T17" fmla="*/ 0 h 30"/>
                <a:gd name="T18" fmla="*/ 15 w 150"/>
                <a:gd name="T19" fmla="*/ 0 h 30"/>
                <a:gd name="T20" fmla="*/ 12 w 150"/>
                <a:gd name="T21" fmla="*/ 0 h 30"/>
                <a:gd name="T22" fmla="*/ 8 w 150"/>
                <a:gd name="T23" fmla="*/ 1 h 30"/>
                <a:gd name="T24" fmla="*/ 6 w 150"/>
                <a:gd name="T25" fmla="*/ 3 h 30"/>
                <a:gd name="T26" fmla="*/ 4 w 150"/>
                <a:gd name="T27" fmla="*/ 4 h 30"/>
                <a:gd name="T28" fmla="*/ 2 w 150"/>
                <a:gd name="T29" fmla="*/ 6 h 30"/>
                <a:gd name="T30" fmla="*/ 1 w 150"/>
                <a:gd name="T31" fmla="*/ 10 h 30"/>
                <a:gd name="T32" fmla="*/ 0 w 150"/>
                <a:gd name="T33" fmla="*/ 12 h 30"/>
                <a:gd name="T34" fmla="*/ 0 w 150"/>
                <a:gd name="T35" fmla="*/ 15 h 30"/>
                <a:gd name="T36" fmla="*/ 0 w 150"/>
                <a:gd name="T37" fmla="*/ 18 h 30"/>
                <a:gd name="T38" fmla="*/ 1 w 150"/>
                <a:gd name="T39" fmla="*/ 21 h 30"/>
                <a:gd name="T40" fmla="*/ 2 w 150"/>
                <a:gd name="T41" fmla="*/ 23 h 30"/>
                <a:gd name="T42" fmla="*/ 4 w 150"/>
                <a:gd name="T43" fmla="*/ 26 h 30"/>
                <a:gd name="T44" fmla="*/ 6 w 150"/>
                <a:gd name="T45" fmla="*/ 28 h 30"/>
                <a:gd name="T46" fmla="*/ 8 w 150"/>
                <a:gd name="T47" fmla="*/ 29 h 30"/>
                <a:gd name="T48" fmla="*/ 12 w 150"/>
                <a:gd name="T49" fmla="*/ 30 h 30"/>
                <a:gd name="T50" fmla="*/ 15 w 150"/>
                <a:gd name="T51" fmla="*/ 30 h 30"/>
                <a:gd name="T52" fmla="*/ 135 w 150"/>
                <a:gd name="T53" fmla="*/ 30 h 30"/>
                <a:gd name="T54" fmla="*/ 138 w 150"/>
                <a:gd name="T55" fmla="*/ 30 h 30"/>
                <a:gd name="T56" fmla="*/ 140 w 150"/>
                <a:gd name="T57" fmla="*/ 29 h 30"/>
                <a:gd name="T58" fmla="*/ 144 w 150"/>
                <a:gd name="T59" fmla="*/ 28 h 30"/>
                <a:gd name="T60" fmla="*/ 146 w 150"/>
                <a:gd name="T61" fmla="*/ 26 h 30"/>
                <a:gd name="T62" fmla="*/ 148 w 150"/>
                <a:gd name="T63" fmla="*/ 23 h 30"/>
                <a:gd name="T64" fmla="*/ 149 w 150"/>
                <a:gd name="T65" fmla="*/ 21 h 30"/>
                <a:gd name="T66" fmla="*/ 150 w 150"/>
                <a:gd name="T67" fmla="*/ 18 h 30"/>
                <a:gd name="T68" fmla="*/ 150 w 150"/>
                <a:gd name="T69" fmla="*/ 1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0" h="30">
                  <a:moveTo>
                    <a:pt x="150" y="15"/>
                  </a:moveTo>
                  <a:lnTo>
                    <a:pt x="150" y="12"/>
                  </a:lnTo>
                  <a:lnTo>
                    <a:pt x="149" y="10"/>
                  </a:lnTo>
                  <a:lnTo>
                    <a:pt x="148" y="6"/>
                  </a:lnTo>
                  <a:lnTo>
                    <a:pt x="146" y="4"/>
                  </a:lnTo>
                  <a:lnTo>
                    <a:pt x="144" y="3"/>
                  </a:lnTo>
                  <a:lnTo>
                    <a:pt x="140" y="1"/>
                  </a:lnTo>
                  <a:lnTo>
                    <a:pt x="138" y="0"/>
                  </a:lnTo>
                  <a:lnTo>
                    <a:pt x="135" y="0"/>
                  </a:lnTo>
                  <a:lnTo>
                    <a:pt x="15" y="0"/>
                  </a:lnTo>
                  <a:lnTo>
                    <a:pt x="12" y="0"/>
                  </a:lnTo>
                  <a:lnTo>
                    <a:pt x="8" y="1"/>
                  </a:lnTo>
                  <a:lnTo>
                    <a:pt x="6" y="3"/>
                  </a:lnTo>
                  <a:lnTo>
                    <a:pt x="4" y="4"/>
                  </a:lnTo>
                  <a:lnTo>
                    <a:pt x="2" y="6"/>
                  </a:lnTo>
                  <a:lnTo>
                    <a:pt x="1" y="10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18"/>
                  </a:lnTo>
                  <a:lnTo>
                    <a:pt x="1" y="21"/>
                  </a:lnTo>
                  <a:lnTo>
                    <a:pt x="2" y="23"/>
                  </a:lnTo>
                  <a:lnTo>
                    <a:pt x="4" y="26"/>
                  </a:lnTo>
                  <a:lnTo>
                    <a:pt x="6" y="28"/>
                  </a:lnTo>
                  <a:lnTo>
                    <a:pt x="8" y="29"/>
                  </a:lnTo>
                  <a:lnTo>
                    <a:pt x="12" y="30"/>
                  </a:lnTo>
                  <a:lnTo>
                    <a:pt x="15" y="30"/>
                  </a:lnTo>
                  <a:lnTo>
                    <a:pt x="135" y="30"/>
                  </a:lnTo>
                  <a:lnTo>
                    <a:pt x="138" y="30"/>
                  </a:lnTo>
                  <a:lnTo>
                    <a:pt x="140" y="29"/>
                  </a:lnTo>
                  <a:lnTo>
                    <a:pt x="144" y="28"/>
                  </a:lnTo>
                  <a:lnTo>
                    <a:pt x="146" y="26"/>
                  </a:lnTo>
                  <a:lnTo>
                    <a:pt x="148" y="23"/>
                  </a:lnTo>
                  <a:lnTo>
                    <a:pt x="149" y="21"/>
                  </a:lnTo>
                  <a:lnTo>
                    <a:pt x="150" y="18"/>
                  </a:lnTo>
                  <a:lnTo>
                    <a:pt x="150" y="1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2" name="Freeform 672">
              <a:extLst>
                <a:ext uri="{FF2B5EF4-FFF2-40B4-BE49-F238E27FC236}">
                  <a16:creationId xmlns:a16="http://schemas.microsoft.com/office/drawing/2014/main" id="{825B217D-8DF7-4360-A009-EA8545C57A4F}"/>
                </a:ext>
              </a:extLst>
            </p:cNvPr>
            <p:cNvSpPr>
              <a:spLocks/>
            </p:cNvSpPr>
            <p:nvPr/>
          </p:nvSpPr>
          <p:spPr bwMode="auto">
            <a:xfrm>
              <a:off x="4338638" y="984250"/>
              <a:ext cx="47625" cy="9525"/>
            </a:xfrm>
            <a:custGeom>
              <a:avLst/>
              <a:gdLst>
                <a:gd name="T0" fmla="*/ 15 w 150"/>
                <a:gd name="T1" fmla="*/ 30 h 30"/>
                <a:gd name="T2" fmla="*/ 135 w 150"/>
                <a:gd name="T3" fmla="*/ 30 h 30"/>
                <a:gd name="T4" fmla="*/ 138 w 150"/>
                <a:gd name="T5" fmla="*/ 30 h 30"/>
                <a:gd name="T6" fmla="*/ 140 w 150"/>
                <a:gd name="T7" fmla="*/ 29 h 30"/>
                <a:gd name="T8" fmla="*/ 144 w 150"/>
                <a:gd name="T9" fmla="*/ 28 h 30"/>
                <a:gd name="T10" fmla="*/ 146 w 150"/>
                <a:gd name="T11" fmla="*/ 26 h 30"/>
                <a:gd name="T12" fmla="*/ 148 w 150"/>
                <a:gd name="T13" fmla="*/ 23 h 30"/>
                <a:gd name="T14" fmla="*/ 149 w 150"/>
                <a:gd name="T15" fmla="*/ 20 h 30"/>
                <a:gd name="T16" fmla="*/ 150 w 150"/>
                <a:gd name="T17" fmla="*/ 18 h 30"/>
                <a:gd name="T18" fmla="*/ 150 w 150"/>
                <a:gd name="T19" fmla="*/ 15 h 30"/>
                <a:gd name="T20" fmla="*/ 150 w 150"/>
                <a:gd name="T21" fmla="*/ 12 h 30"/>
                <a:gd name="T22" fmla="*/ 149 w 150"/>
                <a:gd name="T23" fmla="*/ 9 h 30"/>
                <a:gd name="T24" fmla="*/ 148 w 150"/>
                <a:gd name="T25" fmla="*/ 6 h 30"/>
                <a:gd name="T26" fmla="*/ 146 w 150"/>
                <a:gd name="T27" fmla="*/ 4 h 30"/>
                <a:gd name="T28" fmla="*/ 144 w 150"/>
                <a:gd name="T29" fmla="*/ 2 h 30"/>
                <a:gd name="T30" fmla="*/ 140 w 150"/>
                <a:gd name="T31" fmla="*/ 1 h 30"/>
                <a:gd name="T32" fmla="*/ 138 w 150"/>
                <a:gd name="T33" fmla="*/ 0 h 30"/>
                <a:gd name="T34" fmla="*/ 135 w 150"/>
                <a:gd name="T35" fmla="*/ 0 h 30"/>
                <a:gd name="T36" fmla="*/ 15 w 150"/>
                <a:gd name="T37" fmla="*/ 0 h 30"/>
                <a:gd name="T38" fmla="*/ 12 w 150"/>
                <a:gd name="T39" fmla="*/ 0 h 30"/>
                <a:gd name="T40" fmla="*/ 8 w 150"/>
                <a:gd name="T41" fmla="*/ 1 h 30"/>
                <a:gd name="T42" fmla="*/ 6 w 150"/>
                <a:gd name="T43" fmla="*/ 2 h 30"/>
                <a:gd name="T44" fmla="*/ 4 w 150"/>
                <a:gd name="T45" fmla="*/ 4 h 30"/>
                <a:gd name="T46" fmla="*/ 2 w 150"/>
                <a:gd name="T47" fmla="*/ 6 h 30"/>
                <a:gd name="T48" fmla="*/ 1 w 150"/>
                <a:gd name="T49" fmla="*/ 9 h 30"/>
                <a:gd name="T50" fmla="*/ 0 w 150"/>
                <a:gd name="T51" fmla="*/ 12 h 30"/>
                <a:gd name="T52" fmla="*/ 0 w 150"/>
                <a:gd name="T53" fmla="*/ 15 h 30"/>
                <a:gd name="T54" fmla="*/ 0 w 150"/>
                <a:gd name="T55" fmla="*/ 18 h 30"/>
                <a:gd name="T56" fmla="*/ 1 w 150"/>
                <a:gd name="T57" fmla="*/ 20 h 30"/>
                <a:gd name="T58" fmla="*/ 2 w 150"/>
                <a:gd name="T59" fmla="*/ 23 h 30"/>
                <a:gd name="T60" fmla="*/ 4 w 150"/>
                <a:gd name="T61" fmla="*/ 26 h 30"/>
                <a:gd name="T62" fmla="*/ 6 w 150"/>
                <a:gd name="T63" fmla="*/ 28 h 30"/>
                <a:gd name="T64" fmla="*/ 8 w 150"/>
                <a:gd name="T65" fmla="*/ 29 h 30"/>
                <a:gd name="T66" fmla="*/ 12 w 150"/>
                <a:gd name="T67" fmla="*/ 30 h 30"/>
                <a:gd name="T68" fmla="*/ 15 w 150"/>
                <a:gd name="T69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0" h="30">
                  <a:moveTo>
                    <a:pt x="15" y="30"/>
                  </a:moveTo>
                  <a:lnTo>
                    <a:pt x="135" y="30"/>
                  </a:lnTo>
                  <a:lnTo>
                    <a:pt x="138" y="30"/>
                  </a:lnTo>
                  <a:lnTo>
                    <a:pt x="140" y="29"/>
                  </a:lnTo>
                  <a:lnTo>
                    <a:pt x="144" y="28"/>
                  </a:lnTo>
                  <a:lnTo>
                    <a:pt x="146" y="26"/>
                  </a:lnTo>
                  <a:lnTo>
                    <a:pt x="148" y="23"/>
                  </a:lnTo>
                  <a:lnTo>
                    <a:pt x="149" y="20"/>
                  </a:lnTo>
                  <a:lnTo>
                    <a:pt x="150" y="18"/>
                  </a:lnTo>
                  <a:lnTo>
                    <a:pt x="150" y="15"/>
                  </a:lnTo>
                  <a:lnTo>
                    <a:pt x="150" y="12"/>
                  </a:lnTo>
                  <a:lnTo>
                    <a:pt x="149" y="9"/>
                  </a:lnTo>
                  <a:lnTo>
                    <a:pt x="148" y="6"/>
                  </a:lnTo>
                  <a:lnTo>
                    <a:pt x="146" y="4"/>
                  </a:lnTo>
                  <a:lnTo>
                    <a:pt x="144" y="2"/>
                  </a:lnTo>
                  <a:lnTo>
                    <a:pt x="140" y="1"/>
                  </a:lnTo>
                  <a:lnTo>
                    <a:pt x="138" y="0"/>
                  </a:lnTo>
                  <a:lnTo>
                    <a:pt x="135" y="0"/>
                  </a:lnTo>
                  <a:lnTo>
                    <a:pt x="15" y="0"/>
                  </a:lnTo>
                  <a:lnTo>
                    <a:pt x="12" y="0"/>
                  </a:lnTo>
                  <a:lnTo>
                    <a:pt x="8" y="1"/>
                  </a:lnTo>
                  <a:lnTo>
                    <a:pt x="6" y="2"/>
                  </a:lnTo>
                  <a:lnTo>
                    <a:pt x="4" y="4"/>
                  </a:lnTo>
                  <a:lnTo>
                    <a:pt x="2" y="6"/>
                  </a:lnTo>
                  <a:lnTo>
                    <a:pt x="1" y="9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18"/>
                  </a:lnTo>
                  <a:lnTo>
                    <a:pt x="1" y="20"/>
                  </a:lnTo>
                  <a:lnTo>
                    <a:pt x="2" y="23"/>
                  </a:lnTo>
                  <a:lnTo>
                    <a:pt x="4" y="26"/>
                  </a:lnTo>
                  <a:lnTo>
                    <a:pt x="6" y="28"/>
                  </a:lnTo>
                  <a:lnTo>
                    <a:pt x="8" y="29"/>
                  </a:lnTo>
                  <a:lnTo>
                    <a:pt x="12" y="30"/>
                  </a:lnTo>
                  <a:lnTo>
                    <a:pt x="15" y="3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3" name="Freeform 673">
              <a:extLst>
                <a:ext uri="{FF2B5EF4-FFF2-40B4-BE49-F238E27FC236}">
                  <a16:creationId xmlns:a16="http://schemas.microsoft.com/office/drawing/2014/main" id="{97F2FE38-11FA-4B45-BA30-1C3E7D3CEC49}"/>
                </a:ext>
              </a:extLst>
            </p:cNvPr>
            <p:cNvSpPr>
              <a:spLocks/>
            </p:cNvSpPr>
            <p:nvPr/>
          </p:nvSpPr>
          <p:spPr bwMode="auto">
            <a:xfrm>
              <a:off x="4338638" y="946150"/>
              <a:ext cx="47625" cy="9525"/>
            </a:xfrm>
            <a:custGeom>
              <a:avLst/>
              <a:gdLst>
                <a:gd name="T0" fmla="*/ 15 w 150"/>
                <a:gd name="T1" fmla="*/ 30 h 30"/>
                <a:gd name="T2" fmla="*/ 135 w 150"/>
                <a:gd name="T3" fmla="*/ 30 h 30"/>
                <a:gd name="T4" fmla="*/ 138 w 150"/>
                <a:gd name="T5" fmla="*/ 29 h 30"/>
                <a:gd name="T6" fmla="*/ 140 w 150"/>
                <a:gd name="T7" fmla="*/ 29 h 30"/>
                <a:gd name="T8" fmla="*/ 144 w 150"/>
                <a:gd name="T9" fmla="*/ 26 h 30"/>
                <a:gd name="T10" fmla="*/ 146 w 150"/>
                <a:gd name="T11" fmla="*/ 25 h 30"/>
                <a:gd name="T12" fmla="*/ 148 w 150"/>
                <a:gd name="T13" fmla="*/ 22 h 30"/>
                <a:gd name="T14" fmla="*/ 149 w 150"/>
                <a:gd name="T15" fmla="*/ 20 h 30"/>
                <a:gd name="T16" fmla="*/ 150 w 150"/>
                <a:gd name="T17" fmla="*/ 17 h 30"/>
                <a:gd name="T18" fmla="*/ 150 w 150"/>
                <a:gd name="T19" fmla="*/ 15 h 30"/>
                <a:gd name="T20" fmla="*/ 150 w 150"/>
                <a:gd name="T21" fmla="*/ 11 h 30"/>
                <a:gd name="T22" fmla="*/ 149 w 150"/>
                <a:gd name="T23" fmla="*/ 8 h 30"/>
                <a:gd name="T24" fmla="*/ 148 w 150"/>
                <a:gd name="T25" fmla="*/ 6 h 30"/>
                <a:gd name="T26" fmla="*/ 146 w 150"/>
                <a:gd name="T27" fmla="*/ 4 h 30"/>
                <a:gd name="T28" fmla="*/ 144 w 150"/>
                <a:gd name="T29" fmla="*/ 2 h 30"/>
                <a:gd name="T30" fmla="*/ 140 w 150"/>
                <a:gd name="T31" fmla="*/ 1 h 30"/>
                <a:gd name="T32" fmla="*/ 138 w 150"/>
                <a:gd name="T33" fmla="*/ 0 h 30"/>
                <a:gd name="T34" fmla="*/ 135 w 150"/>
                <a:gd name="T35" fmla="*/ 0 h 30"/>
                <a:gd name="T36" fmla="*/ 15 w 150"/>
                <a:gd name="T37" fmla="*/ 0 h 30"/>
                <a:gd name="T38" fmla="*/ 12 w 150"/>
                <a:gd name="T39" fmla="*/ 0 h 30"/>
                <a:gd name="T40" fmla="*/ 8 w 150"/>
                <a:gd name="T41" fmla="*/ 1 h 30"/>
                <a:gd name="T42" fmla="*/ 6 w 150"/>
                <a:gd name="T43" fmla="*/ 2 h 30"/>
                <a:gd name="T44" fmla="*/ 4 w 150"/>
                <a:gd name="T45" fmla="*/ 4 h 30"/>
                <a:gd name="T46" fmla="*/ 2 w 150"/>
                <a:gd name="T47" fmla="*/ 6 h 30"/>
                <a:gd name="T48" fmla="*/ 1 w 150"/>
                <a:gd name="T49" fmla="*/ 8 h 30"/>
                <a:gd name="T50" fmla="*/ 0 w 150"/>
                <a:gd name="T51" fmla="*/ 11 h 30"/>
                <a:gd name="T52" fmla="*/ 0 w 150"/>
                <a:gd name="T53" fmla="*/ 15 h 30"/>
                <a:gd name="T54" fmla="*/ 0 w 150"/>
                <a:gd name="T55" fmla="*/ 17 h 30"/>
                <a:gd name="T56" fmla="*/ 1 w 150"/>
                <a:gd name="T57" fmla="*/ 20 h 30"/>
                <a:gd name="T58" fmla="*/ 2 w 150"/>
                <a:gd name="T59" fmla="*/ 22 h 30"/>
                <a:gd name="T60" fmla="*/ 4 w 150"/>
                <a:gd name="T61" fmla="*/ 25 h 30"/>
                <a:gd name="T62" fmla="*/ 6 w 150"/>
                <a:gd name="T63" fmla="*/ 26 h 30"/>
                <a:gd name="T64" fmla="*/ 8 w 150"/>
                <a:gd name="T65" fmla="*/ 29 h 30"/>
                <a:gd name="T66" fmla="*/ 12 w 150"/>
                <a:gd name="T67" fmla="*/ 29 h 30"/>
                <a:gd name="T68" fmla="*/ 15 w 150"/>
                <a:gd name="T69" fmla="*/ 30 h 30"/>
                <a:gd name="T70" fmla="*/ 15 w 150"/>
                <a:gd name="T71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50" h="30">
                  <a:moveTo>
                    <a:pt x="15" y="30"/>
                  </a:moveTo>
                  <a:lnTo>
                    <a:pt x="135" y="30"/>
                  </a:lnTo>
                  <a:lnTo>
                    <a:pt x="138" y="29"/>
                  </a:lnTo>
                  <a:lnTo>
                    <a:pt x="140" y="29"/>
                  </a:lnTo>
                  <a:lnTo>
                    <a:pt x="144" y="26"/>
                  </a:lnTo>
                  <a:lnTo>
                    <a:pt x="146" y="25"/>
                  </a:lnTo>
                  <a:lnTo>
                    <a:pt x="148" y="22"/>
                  </a:lnTo>
                  <a:lnTo>
                    <a:pt x="149" y="20"/>
                  </a:lnTo>
                  <a:lnTo>
                    <a:pt x="150" y="17"/>
                  </a:lnTo>
                  <a:lnTo>
                    <a:pt x="150" y="15"/>
                  </a:lnTo>
                  <a:lnTo>
                    <a:pt x="150" y="11"/>
                  </a:lnTo>
                  <a:lnTo>
                    <a:pt x="149" y="8"/>
                  </a:lnTo>
                  <a:lnTo>
                    <a:pt x="148" y="6"/>
                  </a:lnTo>
                  <a:lnTo>
                    <a:pt x="146" y="4"/>
                  </a:lnTo>
                  <a:lnTo>
                    <a:pt x="144" y="2"/>
                  </a:lnTo>
                  <a:lnTo>
                    <a:pt x="140" y="1"/>
                  </a:lnTo>
                  <a:lnTo>
                    <a:pt x="138" y="0"/>
                  </a:lnTo>
                  <a:lnTo>
                    <a:pt x="135" y="0"/>
                  </a:lnTo>
                  <a:lnTo>
                    <a:pt x="15" y="0"/>
                  </a:lnTo>
                  <a:lnTo>
                    <a:pt x="12" y="0"/>
                  </a:lnTo>
                  <a:lnTo>
                    <a:pt x="8" y="1"/>
                  </a:lnTo>
                  <a:lnTo>
                    <a:pt x="6" y="2"/>
                  </a:lnTo>
                  <a:lnTo>
                    <a:pt x="4" y="4"/>
                  </a:lnTo>
                  <a:lnTo>
                    <a:pt x="2" y="6"/>
                  </a:lnTo>
                  <a:lnTo>
                    <a:pt x="1" y="8"/>
                  </a:lnTo>
                  <a:lnTo>
                    <a:pt x="0" y="11"/>
                  </a:lnTo>
                  <a:lnTo>
                    <a:pt x="0" y="15"/>
                  </a:lnTo>
                  <a:lnTo>
                    <a:pt x="0" y="17"/>
                  </a:lnTo>
                  <a:lnTo>
                    <a:pt x="1" y="20"/>
                  </a:lnTo>
                  <a:lnTo>
                    <a:pt x="2" y="22"/>
                  </a:lnTo>
                  <a:lnTo>
                    <a:pt x="4" y="25"/>
                  </a:lnTo>
                  <a:lnTo>
                    <a:pt x="6" y="26"/>
                  </a:lnTo>
                  <a:lnTo>
                    <a:pt x="8" y="29"/>
                  </a:lnTo>
                  <a:lnTo>
                    <a:pt x="12" y="29"/>
                  </a:lnTo>
                  <a:lnTo>
                    <a:pt x="15" y="30"/>
                  </a:lnTo>
                  <a:lnTo>
                    <a:pt x="15" y="3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4" name="Freeform 674">
              <a:extLst>
                <a:ext uri="{FF2B5EF4-FFF2-40B4-BE49-F238E27FC236}">
                  <a16:creationId xmlns:a16="http://schemas.microsoft.com/office/drawing/2014/main" id="{C743B9C6-0F1D-4890-AC3A-BB79F21850CB}"/>
                </a:ext>
              </a:extLst>
            </p:cNvPr>
            <p:cNvSpPr>
              <a:spLocks/>
            </p:cNvSpPr>
            <p:nvPr/>
          </p:nvSpPr>
          <p:spPr bwMode="auto">
            <a:xfrm>
              <a:off x="4338638" y="908050"/>
              <a:ext cx="47625" cy="9525"/>
            </a:xfrm>
            <a:custGeom>
              <a:avLst/>
              <a:gdLst>
                <a:gd name="T0" fmla="*/ 15 w 150"/>
                <a:gd name="T1" fmla="*/ 30 h 30"/>
                <a:gd name="T2" fmla="*/ 135 w 150"/>
                <a:gd name="T3" fmla="*/ 30 h 30"/>
                <a:gd name="T4" fmla="*/ 138 w 150"/>
                <a:gd name="T5" fmla="*/ 30 h 30"/>
                <a:gd name="T6" fmla="*/ 140 w 150"/>
                <a:gd name="T7" fmla="*/ 29 h 30"/>
                <a:gd name="T8" fmla="*/ 144 w 150"/>
                <a:gd name="T9" fmla="*/ 28 h 30"/>
                <a:gd name="T10" fmla="*/ 146 w 150"/>
                <a:gd name="T11" fmla="*/ 26 h 30"/>
                <a:gd name="T12" fmla="*/ 148 w 150"/>
                <a:gd name="T13" fmla="*/ 24 h 30"/>
                <a:gd name="T14" fmla="*/ 149 w 150"/>
                <a:gd name="T15" fmla="*/ 22 h 30"/>
                <a:gd name="T16" fmla="*/ 150 w 150"/>
                <a:gd name="T17" fmla="*/ 19 h 30"/>
                <a:gd name="T18" fmla="*/ 150 w 150"/>
                <a:gd name="T19" fmla="*/ 15 h 30"/>
                <a:gd name="T20" fmla="*/ 150 w 150"/>
                <a:gd name="T21" fmla="*/ 13 h 30"/>
                <a:gd name="T22" fmla="*/ 149 w 150"/>
                <a:gd name="T23" fmla="*/ 10 h 30"/>
                <a:gd name="T24" fmla="*/ 148 w 150"/>
                <a:gd name="T25" fmla="*/ 8 h 30"/>
                <a:gd name="T26" fmla="*/ 146 w 150"/>
                <a:gd name="T27" fmla="*/ 5 h 30"/>
                <a:gd name="T28" fmla="*/ 144 w 150"/>
                <a:gd name="T29" fmla="*/ 4 h 30"/>
                <a:gd name="T30" fmla="*/ 140 w 150"/>
                <a:gd name="T31" fmla="*/ 2 h 30"/>
                <a:gd name="T32" fmla="*/ 138 w 150"/>
                <a:gd name="T33" fmla="*/ 2 h 30"/>
                <a:gd name="T34" fmla="*/ 135 w 150"/>
                <a:gd name="T35" fmla="*/ 0 h 30"/>
                <a:gd name="T36" fmla="*/ 15 w 150"/>
                <a:gd name="T37" fmla="*/ 0 h 30"/>
                <a:gd name="T38" fmla="*/ 12 w 150"/>
                <a:gd name="T39" fmla="*/ 2 h 30"/>
                <a:gd name="T40" fmla="*/ 8 w 150"/>
                <a:gd name="T41" fmla="*/ 2 h 30"/>
                <a:gd name="T42" fmla="*/ 6 w 150"/>
                <a:gd name="T43" fmla="*/ 4 h 30"/>
                <a:gd name="T44" fmla="*/ 4 w 150"/>
                <a:gd name="T45" fmla="*/ 5 h 30"/>
                <a:gd name="T46" fmla="*/ 2 w 150"/>
                <a:gd name="T47" fmla="*/ 8 h 30"/>
                <a:gd name="T48" fmla="*/ 1 w 150"/>
                <a:gd name="T49" fmla="*/ 10 h 30"/>
                <a:gd name="T50" fmla="*/ 0 w 150"/>
                <a:gd name="T51" fmla="*/ 13 h 30"/>
                <a:gd name="T52" fmla="*/ 0 w 150"/>
                <a:gd name="T53" fmla="*/ 15 h 30"/>
                <a:gd name="T54" fmla="*/ 0 w 150"/>
                <a:gd name="T55" fmla="*/ 19 h 30"/>
                <a:gd name="T56" fmla="*/ 1 w 150"/>
                <a:gd name="T57" fmla="*/ 22 h 30"/>
                <a:gd name="T58" fmla="*/ 2 w 150"/>
                <a:gd name="T59" fmla="*/ 24 h 30"/>
                <a:gd name="T60" fmla="*/ 4 w 150"/>
                <a:gd name="T61" fmla="*/ 26 h 30"/>
                <a:gd name="T62" fmla="*/ 6 w 150"/>
                <a:gd name="T63" fmla="*/ 28 h 30"/>
                <a:gd name="T64" fmla="*/ 8 w 150"/>
                <a:gd name="T65" fmla="*/ 29 h 30"/>
                <a:gd name="T66" fmla="*/ 12 w 150"/>
                <a:gd name="T67" fmla="*/ 30 h 30"/>
                <a:gd name="T68" fmla="*/ 15 w 150"/>
                <a:gd name="T69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0" h="30">
                  <a:moveTo>
                    <a:pt x="15" y="30"/>
                  </a:moveTo>
                  <a:lnTo>
                    <a:pt x="135" y="30"/>
                  </a:lnTo>
                  <a:lnTo>
                    <a:pt x="138" y="30"/>
                  </a:lnTo>
                  <a:lnTo>
                    <a:pt x="140" y="29"/>
                  </a:lnTo>
                  <a:lnTo>
                    <a:pt x="144" y="28"/>
                  </a:lnTo>
                  <a:lnTo>
                    <a:pt x="146" y="26"/>
                  </a:lnTo>
                  <a:lnTo>
                    <a:pt x="148" y="24"/>
                  </a:lnTo>
                  <a:lnTo>
                    <a:pt x="149" y="22"/>
                  </a:lnTo>
                  <a:lnTo>
                    <a:pt x="150" y="19"/>
                  </a:lnTo>
                  <a:lnTo>
                    <a:pt x="150" y="15"/>
                  </a:lnTo>
                  <a:lnTo>
                    <a:pt x="150" y="13"/>
                  </a:lnTo>
                  <a:lnTo>
                    <a:pt x="149" y="10"/>
                  </a:lnTo>
                  <a:lnTo>
                    <a:pt x="148" y="8"/>
                  </a:lnTo>
                  <a:lnTo>
                    <a:pt x="146" y="5"/>
                  </a:lnTo>
                  <a:lnTo>
                    <a:pt x="144" y="4"/>
                  </a:lnTo>
                  <a:lnTo>
                    <a:pt x="140" y="2"/>
                  </a:lnTo>
                  <a:lnTo>
                    <a:pt x="138" y="2"/>
                  </a:lnTo>
                  <a:lnTo>
                    <a:pt x="135" y="0"/>
                  </a:lnTo>
                  <a:lnTo>
                    <a:pt x="15" y="0"/>
                  </a:lnTo>
                  <a:lnTo>
                    <a:pt x="12" y="2"/>
                  </a:lnTo>
                  <a:lnTo>
                    <a:pt x="8" y="2"/>
                  </a:lnTo>
                  <a:lnTo>
                    <a:pt x="6" y="4"/>
                  </a:lnTo>
                  <a:lnTo>
                    <a:pt x="4" y="5"/>
                  </a:lnTo>
                  <a:lnTo>
                    <a:pt x="2" y="8"/>
                  </a:lnTo>
                  <a:lnTo>
                    <a:pt x="1" y="10"/>
                  </a:lnTo>
                  <a:lnTo>
                    <a:pt x="0" y="13"/>
                  </a:lnTo>
                  <a:lnTo>
                    <a:pt x="0" y="15"/>
                  </a:lnTo>
                  <a:lnTo>
                    <a:pt x="0" y="19"/>
                  </a:lnTo>
                  <a:lnTo>
                    <a:pt x="1" y="22"/>
                  </a:lnTo>
                  <a:lnTo>
                    <a:pt x="2" y="24"/>
                  </a:lnTo>
                  <a:lnTo>
                    <a:pt x="4" y="26"/>
                  </a:lnTo>
                  <a:lnTo>
                    <a:pt x="6" y="28"/>
                  </a:lnTo>
                  <a:lnTo>
                    <a:pt x="8" y="29"/>
                  </a:lnTo>
                  <a:lnTo>
                    <a:pt x="12" y="30"/>
                  </a:lnTo>
                  <a:lnTo>
                    <a:pt x="15" y="3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5" name="Freeform 675">
              <a:extLst>
                <a:ext uri="{FF2B5EF4-FFF2-40B4-BE49-F238E27FC236}">
                  <a16:creationId xmlns:a16="http://schemas.microsoft.com/office/drawing/2014/main" id="{8BD383F5-00F5-41EB-8DD1-0B8BAF1840C9}"/>
                </a:ext>
              </a:extLst>
            </p:cNvPr>
            <p:cNvSpPr>
              <a:spLocks/>
            </p:cNvSpPr>
            <p:nvPr/>
          </p:nvSpPr>
          <p:spPr bwMode="auto">
            <a:xfrm>
              <a:off x="4338638" y="869950"/>
              <a:ext cx="47625" cy="9525"/>
            </a:xfrm>
            <a:custGeom>
              <a:avLst/>
              <a:gdLst>
                <a:gd name="T0" fmla="*/ 15 w 150"/>
                <a:gd name="T1" fmla="*/ 30 h 30"/>
                <a:gd name="T2" fmla="*/ 135 w 150"/>
                <a:gd name="T3" fmla="*/ 30 h 30"/>
                <a:gd name="T4" fmla="*/ 138 w 150"/>
                <a:gd name="T5" fmla="*/ 30 h 30"/>
                <a:gd name="T6" fmla="*/ 140 w 150"/>
                <a:gd name="T7" fmla="*/ 29 h 30"/>
                <a:gd name="T8" fmla="*/ 144 w 150"/>
                <a:gd name="T9" fmla="*/ 28 h 30"/>
                <a:gd name="T10" fmla="*/ 146 w 150"/>
                <a:gd name="T11" fmla="*/ 26 h 30"/>
                <a:gd name="T12" fmla="*/ 148 w 150"/>
                <a:gd name="T13" fmla="*/ 24 h 30"/>
                <a:gd name="T14" fmla="*/ 149 w 150"/>
                <a:gd name="T15" fmla="*/ 22 h 30"/>
                <a:gd name="T16" fmla="*/ 150 w 150"/>
                <a:gd name="T17" fmla="*/ 19 h 30"/>
                <a:gd name="T18" fmla="*/ 150 w 150"/>
                <a:gd name="T19" fmla="*/ 15 h 30"/>
                <a:gd name="T20" fmla="*/ 150 w 150"/>
                <a:gd name="T21" fmla="*/ 12 h 30"/>
                <a:gd name="T22" fmla="*/ 149 w 150"/>
                <a:gd name="T23" fmla="*/ 10 h 30"/>
                <a:gd name="T24" fmla="*/ 148 w 150"/>
                <a:gd name="T25" fmla="*/ 7 h 30"/>
                <a:gd name="T26" fmla="*/ 146 w 150"/>
                <a:gd name="T27" fmla="*/ 5 h 30"/>
                <a:gd name="T28" fmla="*/ 144 w 150"/>
                <a:gd name="T29" fmla="*/ 2 h 30"/>
                <a:gd name="T30" fmla="*/ 140 w 150"/>
                <a:gd name="T31" fmla="*/ 1 h 30"/>
                <a:gd name="T32" fmla="*/ 138 w 150"/>
                <a:gd name="T33" fmla="*/ 0 h 30"/>
                <a:gd name="T34" fmla="*/ 135 w 150"/>
                <a:gd name="T35" fmla="*/ 0 h 30"/>
                <a:gd name="T36" fmla="*/ 15 w 150"/>
                <a:gd name="T37" fmla="*/ 0 h 30"/>
                <a:gd name="T38" fmla="*/ 12 w 150"/>
                <a:gd name="T39" fmla="*/ 0 h 30"/>
                <a:gd name="T40" fmla="*/ 8 w 150"/>
                <a:gd name="T41" fmla="*/ 1 h 30"/>
                <a:gd name="T42" fmla="*/ 6 w 150"/>
                <a:gd name="T43" fmla="*/ 2 h 30"/>
                <a:gd name="T44" fmla="*/ 4 w 150"/>
                <a:gd name="T45" fmla="*/ 5 h 30"/>
                <a:gd name="T46" fmla="*/ 2 w 150"/>
                <a:gd name="T47" fmla="*/ 7 h 30"/>
                <a:gd name="T48" fmla="*/ 1 w 150"/>
                <a:gd name="T49" fmla="*/ 10 h 30"/>
                <a:gd name="T50" fmla="*/ 0 w 150"/>
                <a:gd name="T51" fmla="*/ 12 h 30"/>
                <a:gd name="T52" fmla="*/ 0 w 150"/>
                <a:gd name="T53" fmla="*/ 15 h 30"/>
                <a:gd name="T54" fmla="*/ 0 w 150"/>
                <a:gd name="T55" fmla="*/ 19 h 30"/>
                <a:gd name="T56" fmla="*/ 1 w 150"/>
                <a:gd name="T57" fmla="*/ 22 h 30"/>
                <a:gd name="T58" fmla="*/ 2 w 150"/>
                <a:gd name="T59" fmla="*/ 24 h 30"/>
                <a:gd name="T60" fmla="*/ 4 w 150"/>
                <a:gd name="T61" fmla="*/ 26 h 30"/>
                <a:gd name="T62" fmla="*/ 6 w 150"/>
                <a:gd name="T63" fmla="*/ 28 h 30"/>
                <a:gd name="T64" fmla="*/ 8 w 150"/>
                <a:gd name="T65" fmla="*/ 29 h 30"/>
                <a:gd name="T66" fmla="*/ 12 w 150"/>
                <a:gd name="T67" fmla="*/ 30 h 30"/>
                <a:gd name="T68" fmla="*/ 15 w 150"/>
                <a:gd name="T69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0" h="30">
                  <a:moveTo>
                    <a:pt x="15" y="30"/>
                  </a:moveTo>
                  <a:lnTo>
                    <a:pt x="135" y="30"/>
                  </a:lnTo>
                  <a:lnTo>
                    <a:pt x="138" y="30"/>
                  </a:lnTo>
                  <a:lnTo>
                    <a:pt x="140" y="29"/>
                  </a:lnTo>
                  <a:lnTo>
                    <a:pt x="144" y="28"/>
                  </a:lnTo>
                  <a:lnTo>
                    <a:pt x="146" y="26"/>
                  </a:lnTo>
                  <a:lnTo>
                    <a:pt x="148" y="24"/>
                  </a:lnTo>
                  <a:lnTo>
                    <a:pt x="149" y="22"/>
                  </a:lnTo>
                  <a:lnTo>
                    <a:pt x="150" y="19"/>
                  </a:lnTo>
                  <a:lnTo>
                    <a:pt x="150" y="15"/>
                  </a:lnTo>
                  <a:lnTo>
                    <a:pt x="150" y="12"/>
                  </a:lnTo>
                  <a:lnTo>
                    <a:pt x="149" y="10"/>
                  </a:lnTo>
                  <a:lnTo>
                    <a:pt x="148" y="7"/>
                  </a:lnTo>
                  <a:lnTo>
                    <a:pt x="146" y="5"/>
                  </a:lnTo>
                  <a:lnTo>
                    <a:pt x="144" y="2"/>
                  </a:lnTo>
                  <a:lnTo>
                    <a:pt x="140" y="1"/>
                  </a:lnTo>
                  <a:lnTo>
                    <a:pt x="138" y="0"/>
                  </a:lnTo>
                  <a:lnTo>
                    <a:pt x="135" y="0"/>
                  </a:lnTo>
                  <a:lnTo>
                    <a:pt x="15" y="0"/>
                  </a:lnTo>
                  <a:lnTo>
                    <a:pt x="12" y="0"/>
                  </a:lnTo>
                  <a:lnTo>
                    <a:pt x="8" y="1"/>
                  </a:lnTo>
                  <a:lnTo>
                    <a:pt x="6" y="2"/>
                  </a:lnTo>
                  <a:lnTo>
                    <a:pt x="4" y="5"/>
                  </a:lnTo>
                  <a:lnTo>
                    <a:pt x="2" y="7"/>
                  </a:lnTo>
                  <a:lnTo>
                    <a:pt x="1" y="10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19"/>
                  </a:lnTo>
                  <a:lnTo>
                    <a:pt x="1" y="22"/>
                  </a:lnTo>
                  <a:lnTo>
                    <a:pt x="2" y="24"/>
                  </a:lnTo>
                  <a:lnTo>
                    <a:pt x="4" y="26"/>
                  </a:lnTo>
                  <a:lnTo>
                    <a:pt x="6" y="28"/>
                  </a:lnTo>
                  <a:lnTo>
                    <a:pt x="8" y="29"/>
                  </a:lnTo>
                  <a:lnTo>
                    <a:pt x="12" y="30"/>
                  </a:lnTo>
                  <a:lnTo>
                    <a:pt x="15" y="3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6" name="Freeform 676">
              <a:extLst>
                <a:ext uri="{FF2B5EF4-FFF2-40B4-BE49-F238E27FC236}">
                  <a16:creationId xmlns:a16="http://schemas.microsoft.com/office/drawing/2014/main" id="{65D90FA9-6A10-45BA-9B92-0B6B1F0992FF}"/>
                </a:ext>
              </a:extLst>
            </p:cNvPr>
            <p:cNvSpPr>
              <a:spLocks/>
            </p:cNvSpPr>
            <p:nvPr/>
          </p:nvSpPr>
          <p:spPr bwMode="auto">
            <a:xfrm>
              <a:off x="4338638" y="831850"/>
              <a:ext cx="47625" cy="9525"/>
            </a:xfrm>
            <a:custGeom>
              <a:avLst/>
              <a:gdLst>
                <a:gd name="T0" fmla="*/ 15 w 150"/>
                <a:gd name="T1" fmla="*/ 30 h 30"/>
                <a:gd name="T2" fmla="*/ 135 w 150"/>
                <a:gd name="T3" fmla="*/ 30 h 30"/>
                <a:gd name="T4" fmla="*/ 138 w 150"/>
                <a:gd name="T5" fmla="*/ 30 h 30"/>
                <a:gd name="T6" fmla="*/ 140 w 150"/>
                <a:gd name="T7" fmla="*/ 29 h 30"/>
                <a:gd name="T8" fmla="*/ 144 w 150"/>
                <a:gd name="T9" fmla="*/ 27 h 30"/>
                <a:gd name="T10" fmla="*/ 146 w 150"/>
                <a:gd name="T11" fmla="*/ 26 h 30"/>
                <a:gd name="T12" fmla="*/ 148 w 150"/>
                <a:gd name="T13" fmla="*/ 24 h 30"/>
                <a:gd name="T14" fmla="*/ 149 w 150"/>
                <a:gd name="T15" fmla="*/ 21 h 30"/>
                <a:gd name="T16" fmla="*/ 150 w 150"/>
                <a:gd name="T17" fmla="*/ 18 h 30"/>
                <a:gd name="T18" fmla="*/ 150 w 150"/>
                <a:gd name="T19" fmla="*/ 15 h 30"/>
                <a:gd name="T20" fmla="*/ 150 w 150"/>
                <a:gd name="T21" fmla="*/ 12 h 30"/>
                <a:gd name="T22" fmla="*/ 149 w 150"/>
                <a:gd name="T23" fmla="*/ 9 h 30"/>
                <a:gd name="T24" fmla="*/ 148 w 150"/>
                <a:gd name="T25" fmla="*/ 7 h 30"/>
                <a:gd name="T26" fmla="*/ 146 w 150"/>
                <a:gd name="T27" fmla="*/ 4 h 30"/>
                <a:gd name="T28" fmla="*/ 144 w 150"/>
                <a:gd name="T29" fmla="*/ 2 h 30"/>
                <a:gd name="T30" fmla="*/ 140 w 150"/>
                <a:gd name="T31" fmla="*/ 1 h 30"/>
                <a:gd name="T32" fmla="*/ 138 w 150"/>
                <a:gd name="T33" fmla="*/ 0 h 30"/>
                <a:gd name="T34" fmla="*/ 135 w 150"/>
                <a:gd name="T35" fmla="*/ 0 h 30"/>
                <a:gd name="T36" fmla="*/ 15 w 150"/>
                <a:gd name="T37" fmla="*/ 0 h 30"/>
                <a:gd name="T38" fmla="*/ 12 w 150"/>
                <a:gd name="T39" fmla="*/ 0 h 30"/>
                <a:gd name="T40" fmla="*/ 8 w 150"/>
                <a:gd name="T41" fmla="*/ 1 h 30"/>
                <a:gd name="T42" fmla="*/ 6 w 150"/>
                <a:gd name="T43" fmla="*/ 2 h 30"/>
                <a:gd name="T44" fmla="*/ 4 w 150"/>
                <a:gd name="T45" fmla="*/ 4 h 30"/>
                <a:gd name="T46" fmla="*/ 2 w 150"/>
                <a:gd name="T47" fmla="*/ 7 h 30"/>
                <a:gd name="T48" fmla="*/ 1 w 150"/>
                <a:gd name="T49" fmla="*/ 9 h 30"/>
                <a:gd name="T50" fmla="*/ 0 w 150"/>
                <a:gd name="T51" fmla="*/ 12 h 30"/>
                <a:gd name="T52" fmla="*/ 0 w 150"/>
                <a:gd name="T53" fmla="*/ 15 h 30"/>
                <a:gd name="T54" fmla="*/ 0 w 150"/>
                <a:gd name="T55" fmla="*/ 18 h 30"/>
                <a:gd name="T56" fmla="*/ 1 w 150"/>
                <a:gd name="T57" fmla="*/ 21 h 30"/>
                <a:gd name="T58" fmla="*/ 2 w 150"/>
                <a:gd name="T59" fmla="*/ 24 h 30"/>
                <a:gd name="T60" fmla="*/ 4 w 150"/>
                <a:gd name="T61" fmla="*/ 26 h 30"/>
                <a:gd name="T62" fmla="*/ 6 w 150"/>
                <a:gd name="T63" fmla="*/ 27 h 30"/>
                <a:gd name="T64" fmla="*/ 8 w 150"/>
                <a:gd name="T65" fmla="*/ 29 h 30"/>
                <a:gd name="T66" fmla="*/ 12 w 150"/>
                <a:gd name="T67" fmla="*/ 30 h 30"/>
                <a:gd name="T68" fmla="*/ 15 w 150"/>
                <a:gd name="T69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0" h="30">
                  <a:moveTo>
                    <a:pt x="15" y="30"/>
                  </a:moveTo>
                  <a:lnTo>
                    <a:pt x="135" y="30"/>
                  </a:lnTo>
                  <a:lnTo>
                    <a:pt x="138" y="30"/>
                  </a:lnTo>
                  <a:lnTo>
                    <a:pt x="140" y="29"/>
                  </a:lnTo>
                  <a:lnTo>
                    <a:pt x="144" y="27"/>
                  </a:lnTo>
                  <a:lnTo>
                    <a:pt x="146" y="26"/>
                  </a:lnTo>
                  <a:lnTo>
                    <a:pt x="148" y="24"/>
                  </a:lnTo>
                  <a:lnTo>
                    <a:pt x="149" y="21"/>
                  </a:lnTo>
                  <a:lnTo>
                    <a:pt x="150" y="18"/>
                  </a:lnTo>
                  <a:lnTo>
                    <a:pt x="150" y="15"/>
                  </a:lnTo>
                  <a:lnTo>
                    <a:pt x="150" y="12"/>
                  </a:lnTo>
                  <a:lnTo>
                    <a:pt x="149" y="9"/>
                  </a:lnTo>
                  <a:lnTo>
                    <a:pt x="148" y="7"/>
                  </a:lnTo>
                  <a:lnTo>
                    <a:pt x="146" y="4"/>
                  </a:lnTo>
                  <a:lnTo>
                    <a:pt x="144" y="2"/>
                  </a:lnTo>
                  <a:lnTo>
                    <a:pt x="140" y="1"/>
                  </a:lnTo>
                  <a:lnTo>
                    <a:pt x="138" y="0"/>
                  </a:lnTo>
                  <a:lnTo>
                    <a:pt x="135" y="0"/>
                  </a:lnTo>
                  <a:lnTo>
                    <a:pt x="15" y="0"/>
                  </a:lnTo>
                  <a:lnTo>
                    <a:pt x="12" y="0"/>
                  </a:lnTo>
                  <a:lnTo>
                    <a:pt x="8" y="1"/>
                  </a:lnTo>
                  <a:lnTo>
                    <a:pt x="6" y="2"/>
                  </a:lnTo>
                  <a:lnTo>
                    <a:pt x="4" y="4"/>
                  </a:lnTo>
                  <a:lnTo>
                    <a:pt x="2" y="7"/>
                  </a:lnTo>
                  <a:lnTo>
                    <a:pt x="1" y="9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18"/>
                  </a:lnTo>
                  <a:lnTo>
                    <a:pt x="1" y="21"/>
                  </a:lnTo>
                  <a:lnTo>
                    <a:pt x="2" y="24"/>
                  </a:lnTo>
                  <a:lnTo>
                    <a:pt x="4" y="26"/>
                  </a:lnTo>
                  <a:lnTo>
                    <a:pt x="6" y="27"/>
                  </a:lnTo>
                  <a:lnTo>
                    <a:pt x="8" y="29"/>
                  </a:lnTo>
                  <a:lnTo>
                    <a:pt x="12" y="30"/>
                  </a:lnTo>
                  <a:lnTo>
                    <a:pt x="15" y="3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34" name="Freeform 2891">
            <a:extLst>
              <a:ext uri="{FF2B5EF4-FFF2-40B4-BE49-F238E27FC236}">
                <a16:creationId xmlns:a16="http://schemas.microsoft.com/office/drawing/2014/main" id="{BB8AD440-4183-44FB-9152-BA3A5BA522BE}"/>
              </a:ext>
            </a:extLst>
          </p:cNvPr>
          <p:cNvSpPr>
            <a:spLocks noEditPoints="1"/>
          </p:cNvSpPr>
          <p:nvPr/>
        </p:nvSpPr>
        <p:spPr bwMode="auto">
          <a:xfrm>
            <a:off x="1242340" y="5609275"/>
            <a:ext cx="284163" cy="285750"/>
          </a:xfrm>
          <a:custGeom>
            <a:avLst/>
            <a:gdLst>
              <a:gd name="T0" fmla="*/ 301 w 719"/>
              <a:gd name="T1" fmla="*/ 621 h 720"/>
              <a:gd name="T2" fmla="*/ 209 w 719"/>
              <a:gd name="T3" fmla="*/ 573 h 720"/>
              <a:gd name="T4" fmla="*/ 131 w 719"/>
              <a:gd name="T5" fmla="*/ 456 h 720"/>
              <a:gd name="T6" fmla="*/ 122 w 719"/>
              <a:gd name="T7" fmla="*/ 380 h 720"/>
              <a:gd name="T8" fmla="*/ 143 w 719"/>
              <a:gd name="T9" fmla="*/ 380 h 720"/>
              <a:gd name="T10" fmla="*/ 171 w 719"/>
              <a:gd name="T11" fmla="*/ 488 h 720"/>
              <a:gd name="T12" fmla="*/ 259 w 719"/>
              <a:gd name="T13" fmla="*/ 579 h 720"/>
              <a:gd name="T14" fmla="*/ 381 w 719"/>
              <a:gd name="T15" fmla="*/ 604 h 720"/>
              <a:gd name="T16" fmla="*/ 496 w 719"/>
              <a:gd name="T17" fmla="*/ 554 h 720"/>
              <a:gd name="T18" fmla="*/ 565 w 719"/>
              <a:gd name="T19" fmla="*/ 449 h 720"/>
              <a:gd name="T20" fmla="*/ 583 w 719"/>
              <a:gd name="T21" fmla="*/ 373 h 720"/>
              <a:gd name="T22" fmla="*/ 599 w 719"/>
              <a:gd name="T23" fmla="*/ 397 h 720"/>
              <a:gd name="T24" fmla="*/ 570 w 719"/>
              <a:gd name="T25" fmla="*/ 500 h 720"/>
              <a:gd name="T26" fmla="*/ 473 w 719"/>
              <a:gd name="T27" fmla="*/ 599 h 720"/>
              <a:gd name="T28" fmla="*/ 395 w 719"/>
              <a:gd name="T29" fmla="*/ 626 h 720"/>
              <a:gd name="T30" fmla="*/ 231 w 719"/>
              <a:gd name="T31" fmla="*/ 228 h 720"/>
              <a:gd name="T32" fmla="*/ 272 w 719"/>
              <a:gd name="T33" fmla="*/ 244 h 720"/>
              <a:gd name="T34" fmla="*/ 297 w 719"/>
              <a:gd name="T35" fmla="*/ 279 h 720"/>
              <a:gd name="T36" fmla="*/ 293 w 719"/>
              <a:gd name="T37" fmla="*/ 312 h 720"/>
              <a:gd name="T38" fmla="*/ 275 w 719"/>
              <a:gd name="T39" fmla="*/ 291 h 720"/>
              <a:gd name="T40" fmla="*/ 235 w 719"/>
              <a:gd name="T41" fmla="*/ 253 h 720"/>
              <a:gd name="T42" fmla="*/ 179 w 719"/>
              <a:gd name="T43" fmla="*/ 273 h 720"/>
              <a:gd name="T44" fmla="*/ 167 w 719"/>
              <a:gd name="T45" fmla="*/ 305 h 720"/>
              <a:gd name="T46" fmla="*/ 146 w 719"/>
              <a:gd name="T47" fmla="*/ 305 h 720"/>
              <a:gd name="T48" fmla="*/ 155 w 719"/>
              <a:gd name="T49" fmla="*/ 265 h 720"/>
              <a:gd name="T50" fmla="*/ 188 w 719"/>
              <a:gd name="T51" fmla="*/ 236 h 720"/>
              <a:gd name="T52" fmla="*/ 496 w 719"/>
              <a:gd name="T53" fmla="*/ 228 h 720"/>
              <a:gd name="T54" fmla="*/ 538 w 719"/>
              <a:gd name="T55" fmla="*/ 240 h 720"/>
              <a:gd name="T56" fmla="*/ 568 w 719"/>
              <a:gd name="T57" fmla="*/ 272 h 720"/>
              <a:gd name="T58" fmla="*/ 573 w 719"/>
              <a:gd name="T59" fmla="*/ 309 h 720"/>
              <a:gd name="T60" fmla="*/ 551 w 719"/>
              <a:gd name="T61" fmla="*/ 300 h 720"/>
              <a:gd name="T62" fmla="*/ 533 w 719"/>
              <a:gd name="T63" fmla="*/ 266 h 720"/>
              <a:gd name="T64" fmla="*/ 476 w 719"/>
              <a:gd name="T65" fmla="*/ 255 h 720"/>
              <a:gd name="T66" fmla="*/ 444 w 719"/>
              <a:gd name="T67" fmla="*/ 300 h 720"/>
              <a:gd name="T68" fmla="*/ 424 w 719"/>
              <a:gd name="T69" fmla="*/ 309 h 720"/>
              <a:gd name="T70" fmla="*/ 426 w 719"/>
              <a:gd name="T71" fmla="*/ 273 h 720"/>
              <a:gd name="T72" fmla="*/ 454 w 719"/>
              <a:gd name="T73" fmla="*/ 241 h 720"/>
              <a:gd name="T74" fmla="*/ 496 w 719"/>
              <a:gd name="T75" fmla="*/ 228 h 720"/>
              <a:gd name="T76" fmla="*/ 270 w 719"/>
              <a:gd name="T77" fmla="*/ 12 h 720"/>
              <a:gd name="T78" fmla="*/ 174 w 719"/>
              <a:gd name="T79" fmla="*/ 53 h 720"/>
              <a:gd name="T80" fmla="*/ 94 w 719"/>
              <a:gd name="T81" fmla="*/ 119 h 720"/>
              <a:gd name="T82" fmla="*/ 36 w 719"/>
              <a:gd name="T83" fmla="*/ 205 h 720"/>
              <a:gd name="T84" fmla="*/ 5 w 719"/>
              <a:gd name="T85" fmla="*/ 306 h 720"/>
              <a:gd name="T86" fmla="*/ 5 w 719"/>
              <a:gd name="T87" fmla="*/ 416 h 720"/>
              <a:gd name="T88" fmla="*/ 36 w 719"/>
              <a:gd name="T89" fmla="*/ 515 h 720"/>
              <a:gd name="T90" fmla="*/ 94 w 719"/>
              <a:gd name="T91" fmla="*/ 602 h 720"/>
              <a:gd name="T92" fmla="*/ 174 w 719"/>
              <a:gd name="T93" fmla="*/ 668 h 720"/>
              <a:gd name="T94" fmla="*/ 270 w 719"/>
              <a:gd name="T95" fmla="*/ 708 h 720"/>
              <a:gd name="T96" fmla="*/ 379 w 719"/>
              <a:gd name="T97" fmla="*/ 719 h 720"/>
              <a:gd name="T98" fmla="*/ 483 w 719"/>
              <a:gd name="T99" fmla="*/ 697 h 720"/>
              <a:gd name="T100" fmla="*/ 575 w 719"/>
              <a:gd name="T101" fmla="*/ 649 h 720"/>
              <a:gd name="T102" fmla="*/ 648 w 719"/>
              <a:gd name="T103" fmla="*/ 575 h 720"/>
              <a:gd name="T104" fmla="*/ 697 w 719"/>
              <a:gd name="T105" fmla="*/ 483 h 720"/>
              <a:gd name="T106" fmla="*/ 719 w 719"/>
              <a:gd name="T107" fmla="*/ 379 h 720"/>
              <a:gd name="T108" fmla="*/ 708 w 719"/>
              <a:gd name="T109" fmla="*/ 270 h 720"/>
              <a:gd name="T110" fmla="*/ 668 w 719"/>
              <a:gd name="T111" fmla="*/ 174 h 720"/>
              <a:gd name="T112" fmla="*/ 601 w 719"/>
              <a:gd name="T113" fmla="*/ 94 h 720"/>
              <a:gd name="T114" fmla="*/ 515 w 719"/>
              <a:gd name="T115" fmla="*/ 36 h 720"/>
              <a:gd name="T116" fmla="*/ 414 w 719"/>
              <a:gd name="T117" fmla="*/ 5 h 7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719" h="720">
                <a:moveTo>
                  <a:pt x="360" y="628"/>
                </a:moveTo>
                <a:lnTo>
                  <a:pt x="348" y="628"/>
                </a:lnTo>
                <a:lnTo>
                  <a:pt x="336" y="627"/>
                </a:lnTo>
                <a:lnTo>
                  <a:pt x="324" y="626"/>
                </a:lnTo>
                <a:lnTo>
                  <a:pt x="312" y="624"/>
                </a:lnTo>
                <a:lnTo>
                  <a:pt x="301" y="621"/>
                </a:lnTo>
                <a:lnTo>
                  <a:pt x="289" y="618"/>
                </a:lnTo>
                <a:lnTo>
                  <a:pt x="279" y="614"/>
                </a:lnTo>
                <a:lnTo>
                  <a:pt x="268" y="609"/>
                </a:lnTo>
                <a:lnTo>
                  <a:pt x="247" y="599"/>
                </a:lnTo>
                <a:lnTo>
                  <a:pt x="228" y="587"/>
                </a:lnTo>
                <a:lnTo>
                  <a:pt x="209" y="573"/>
                </a:lnTo>
                <a:lnTo>
                  <a:pt x="192" y="556"/>
                </a:lnTo>
                <a:lnTo>
                  <a:pt x="176" y="539"/>
                </a:lnTo>
                <a:lnTo>
                  <a:pt x="162" y="520"/>
                </a:lnTo>
                <a:lnTo>
                  <a:pt x="150" y="500"/>
                </a:lnTo>
                <a:lnTo>
                  <a:pt x="140" y="479"/>
                </a:lnTo>
                <a:lnTo>
                  <a:pt x="131" y="456"/>
                </a:lnTo>
                <a:lnTo>
                  <a:pt x="125" y="433"/>
                </a:lnTo>
                <a:lnTo>
                  <a:pt x="123" y="422"/>
                </a:lnTo>
                <a:lnTo>
                  <a:pt x="122" y="408"/>
                </a:lnTo>
                <a:lnTo>
                  <a:pt x="121" y="397"/>
                </a:lnTo>
                <a:lnTo>
                  <a:pt x="121" y="385"/>
                </a:lnTo>
                <a:lnTo>
                  <a:pt x="122" y="380"/>
                </a:lnTo>
                <a:lnTo>
                  <a:pt x="124" y="376"/>
                </a:lnTo>
                <a:lnTo>
                  <a:pt x="128" y="373"/>
                </a:lnTo>
                <a:lnTo>
                  <a:pt x="132" y="373"/>
                </a:lnTo>
                <a:lnTo>
                  <a:pt x="137" y="373"/>
                </a:lnTo>
                <a:lnTo>
                  <a:pt x="141" y="376"/>
                </a:lnTo>
                <a:lnTo>
                  <a:pt x="143" y="380"/>
                </a:lnTo>
                <a:lnTo>
                  <a:pt x="144" y="385"/>
                </a:lnTo>
                <a:lnTo>
                  <a:pt x="146" y="406"/>
                </a:lnTo>
                <a:lnTo>
                  <a:pt x="149" y="429"/>
                </a:lnTo>
                <a:lnTo>
                  <a:pt x="154" y="449"/>
                </a:lnTo>
                <a:lnTo>
                  <a:pt x="161" y="469"/>
                </a:lnTo>
                <a:lnTo>
                  <a:pt x="171" y="488"/>
                </a:lnTo>
                <a:lnTo>
                  <a:pt x="181" y="507"/>
                </a:lnTo>
                <a:lnTo>
                  <a:pt x="194" y="524"/>
                </a:lnTo>
                <a:lnTo>
                  <a:pt x="209" y="539"/>
                </a:lnTo>
                <a:lnTo>
                  <a:pt x="224" y="554"/>
                </a:lnTo>
                <a:lnTo>
                  <a:pt x="241" y="567"/>
                </a:lnTo>
                <a:lnTo>
                  <a:pt x="259" y="579"/>
                </a:lnTo>
                <a:lnTo>
                  <a:pt x="276" y="587"/>
                </a:lnTo>
                <a:lnTo>
                  <a:pt x="297" y="595"/>
                </a:lnTo>
                <a:lnTo>
                  <a:pt x="317" y="600"/>
                </a:lnTo>
                <a:lnTo>
                  <a:pt x="338" y="604"/>
                </a:lnTo>
                <a:lnTo>
                  <a:pt x="360" y="605"/>
                </a:lnTo>
                <a:lnTo>
                  <a:pt x="381" y="604"/>
                </a:lnTo>
                <a:lnTo>
                  <a:pt x="402" y="600"/>
                </a:lnTo>
                <a:lnTo>
                  <a:pt x="423" y="595"/>
                </a:lnTo>
                <a:lnTo>
                  <a:pt x="443" y="587"/>
                </a:lnTo>
                <a:lnTo>
                  <a:pt x="462" y="579"/>
                </a:lnTo>
                <a:lnTo>
                  <a:pt x="480" y="567"/>
                </a:lnTo>
                <a:lnTo>
                  <a:pt x="496" y="554"/>
                </a:lnTo>
                <a:lnTo>
                  <a:pt x="512" y="539"/>
                </a:lnTo>
                <a:lnTo>
                  <a:pt x="526" y="524"/>
                </a:lnTo>
                <a:lnTo>
                  <a:pt x="538" y="507"/>
                </a:lnTo>
                <a:lnTo>
                  <a:pt x="549" y="488"/>
                </a:lnTo>
                <a:lnTo>
                  <a:pt x="558" y="469"/>
                </a:lnTo>
                <a:lnTo>
                  <a:pt x="565" y="449"/>
                </a:lnTo>
                <a:lnTo>
                  <a:pt x="571" y="429"/>
                </a:lnTo>
                <a:lnTo>
                  <a:pt x="575" y="406"/>
                </a:lnTo>
                <a:lnTo>
                  <a:pt x="575" y="385"/>
                </a:lnTo>
                <a:lnTo>
                  <a:pt x="576" y="380"/>
                </a:lnTo>
                <a:lnTo>
                  <a:pt x="579" y="376"/>
                </a:lnTo>
                <a:lnTo>
                  <a:pt x="583" y="373"/>
                </a:lnTo>
                <a:lnTo>
                  <a:pt x="588" y="373"/>
                </a:lnTo>
                <a:lnTo>
                  <a:pt x="592" y="373"/>
                </a:lnTo>
                <a:lnTo>
                  <a:pt x="596" y="376"/>
                </a:lnTo>
                <a:lnTo>
                  <a:pt x="599" y="380"/>
                </a:lnTo>
                <a:lnTo>
                  <a:pt x="600" y="385"/>
                </a:lnTo>
                <a:lnTo>
                  <a:pt x="599" y="397"/>
                </a:lnTo>
                <a:lnTo>
                  <a:pt x="599" y="408"/>
                </a:lnTo>
                <a:lnTo>
                  <a:pt x="596" y="422"/>
                </a:lnTo>
                <a:lnTo>
                  <a:pt x="594" y="433"/>
                </a:lnTo>
                <a:lnTo>
                  <a:pt x="588" y="456"/>
                </a:lnTo>
                <a:lnTo>
                  <a:pt x="581" y="479"/>
                </a:lnTo>
                <a:lnTo>
                  <a:pt x="570" y="500"/>
                </a:lnTo>
                <a:lnTo>
                  <a:pt x="558" y="520"/>
                </a:lnTo>
                <a:lnTo>
                  <a:pt x="544" y="539"/>
                </a:lnTo>
                <a:lnTo>
                  <a:pt x="529" y="556"/>
                </a:lnTo>
                <a:lnTo>
                  <a:pt x="511" y="573"/>
                </a:lnTo>
                <a:lnTo>
                  <a:pt x="493" y="587"/>
                </a:lnTo>
                <a:lnTo>
                  <a:pt x="473" y="599"/>
                </a:lnTo>
                <a:lnTo>
                  <a:pt x="452" y="609"/>
                </a:lnTo>
                <a:lnTo>
                  <a:pt x="442" y="614"/>
                </a:lnTo>
                <a:lnTo>
                  <a:pt x="430" y="618"/>
                </a:lnTo>
                <a:lnTo>
                  <a:pt x="419" y="621"/>
                </a:lnTo>
                <a:lnTo>
                  <a:pt x="407" y="624"/>
                </a:lnTo>
                <a:lnTo>
                  <a:pt x="395" y="626"/>
                </a:lnTo>
                <a:lnTo>
                  <a:pt x="383" y="627"/>
                </a:lnTo>
                <a:lnTo>
                  <a:pt x="372" y="628"/>
                </a:lnTo>
                <a:lnTo>
                  <a:pt x="360" y="628"/>
                </a:lnTo>
                <a:lnTo>
                  <a:pt x="360" y="628"/>
                </a:lnTo>
                <a:close/>
                <a:moveTo>
                  <a:pt x="224" y="228"/>
                </a:moveTo>
                <a:lnTo>
                  <a:pt x="231" y="228"/>
                </a:lnTo>
                <a:lnTo>
                  <a:pt x="239" y="229"/>
                </a:lnTo>
                <a:lnTo>
                  <a:pt x="247" y="231"/>
                </a:lnTo>
                <a:lnTo>
                  <a:pt x="253" y="234"/>
                </a:lnTo>
                <a:lnTo>
                  <a:pt x="260" y="237"/>
                </a:lnTo>
                <a:lnTo>
                  <a:pt x="266" y="241"/>
                </a:lnTo>
                <a:lnTo>
                  <a:pt x="272" y="244"/>
                </a:lnTo>
                <a:lnTo>
                  <a:pt x="278" y="249"/>
                </a:lnTo>
                <a:lnTo>
                  <a:pt x="282" y="255"/>
                </a:lnTo>
                <a:lnTo>
                  <a:pt x="287" y="261"/>
                </a:lnTo>
                <a:lnTo>
                  <a:pt x="291" y="267"/>
                </a:lnTo>
                <a:lnTo>
                  <a:pt x="294" y="273"/>
                </a:lnTo>
                <a:lnTo>
                  <a:pt x="297" y="279"/>
                </a:lnTo>
                <a:lnTo>
                  <a:pt x="299" y="286"/>
                </a:lnTo>
                <a:lnTo>
                  <a:pt x="300" y="293"/>
                </a:lnTo>
                <a:lnTo>
                  <a:pt x="300" y="300"/>
                </a:lnTo>
                <a:lnTo>
                  <a:pt x="299" y="305"/>
                </a:lnTo>
                <a:lnTo>
                  <a:pt x="297" y="309"/>
                </a:lnTo>
                <a:lnTo>
                  <a:pt x="293" y="312"/>
                </a:lnTo>
                <a:lnTo>
                  <a:pt x="288" y="312"/>
                </a:lnTo>
                <a:lnTo>
                  <a:pt x="284" y="312"/>
                </a:lnTo>
                <a:lnTo>
                  <a:pt x="280" y="309"/>
                </a:lnTo>
                <a:lnTo>
                  <a:pt x="278" y="305"/>
                </a:lnTo>
                <a:lnTo>
                  <a:pt x="276" y="300"/>
                </a:lnTo>
                <a:lnTo>
                  <a:pt x="275" y="291"/>
                </a:lnTo>
                <a:lnTo>
                  <a:pt x="272" y="282"/>
                </a:lnTo>
                <a:lnTo>
                  <a:pt x="267" y="274"/>
                </a:lnTo>
                <a:lnTo>
                  <a:pt x="261" y="266"/>
                </a:lnTo>
                <a:lnTo>
                  <a:pt x="253" y="260"/>
                </a:lnTo>
                <a:lnTo>
                  <a:pt x="244" y="255"/>
                </a:lnTo>
                <a:lnTo>
                  <a:pt x="235" y="253"/>
                </a:lnTo>
                <a:lnTo>
                  <a:pt x="224" y="251"/>
                </a:lnTo>
                <a:lnTo>
                  <a:pt x="215" y="253"/>
                </a:lnTo>
                <a:lnTo>
                  <a:pt x="205" y="255"/>
                </a:lnTo>
                <a:lnTo>
                  <a:pt x="195" y="260"/>
                </a:lnTo>
                <a:lnTo>
                  <a:pt x="186" y="266"/>
                </a:lnTo>
                <a:lnTo>
                  <a:pt x="179" y="273"/>
                </a:lnTo>
                <a:lnTo>
                  <a:pt x="173" y="281"/>
                </a:lnTo>
                <a:lnTo>
                  <a:pt x="172" y="286"/>
                </a:lnTo>
                <a:lnTo>
                  <a:pt x="169" y="291"/>
                </a:lnTo>
                <a:lnTo>
                  <a:pt x="168" y="295"/>
                </a:lnTo>
                <a:lnTo>
                  <a:pt x="168" y="300"/>
                </a:lnTo>
                <a:lnTo>
                  <a:pt x="167" y="305"/>
                </a:lnTo>
                <a:lnTo>
                  <a:pt x="165" y="309"/>
                </a:lnTo>
                <a:lnTo>
                  <a:pt x="161" y="312"/>
                </a:lnTo>
                <a:lnTo>
                  <a:pt x="156" y="312"/>
                </a:lnTo>
                <a:lnTo>
                  <a:pt x="151" y="312"/>
                </a:lnTo>
                <a:lnTo>
                  <a:pt x="148" y="309"/>
                </a:lnTo>
                <a:lnTo>
                  <a:pt x="146" y="305"/>
                </a:lnTo>
                <a:lnTo>
                  <a:pt x="144" y="300"/>
                </a:lnTo>
                <a:lnTo>
                  <a:pt x="144" y="293"/>
                </a:lnTo>
                <a:lnTo>
                  <a:pt x="147" y="286"/>
                </a:lnTo>
                <a:lnTo>
                  <a:pt x="148" y="279"/>
                </a:lnTo>
                <a:lnTo>
                  <a:pt x="151" y="272"/>
                </a:lnTo>
                <a:lnTo>
                  <a:pt x="155" y="265"/>
                </a:lnTo>
                <a:lnTo>
                  <a:pt x="160" y="259"/>
                </a:lnTo>
                <a:lnTo>
                  <a:pt x="165" y="254"/>
                </a:lnTo>
                <a:lnTo>
                  <a:pt x="171" y="248"/>
                </a:lnTo>
                <a:lnTo>
                  <a:pt x="176" y="244"/>
                </a:lnTo>
                <a:lnTo>
                  <a:pt x="182" y="240"/>
                </a:lnTo>
                <a:lnTo>
                  <a:pt x="188" y="236"/>
                </a:lnTo>
                <a:lnTo>
                  <a:pt x="195" y="234"/>
                </a:lnTo>
                <a:lnTo>
                  <a:pt x="203" y="231"/>
                </a:lnTo>
                <a:lnTo>
                  <a:pt x="210" y="229"/>
                </a:lnTo>
                <a:lnTo>
                  <a:pt x="217" y="228"/>
                </a:lnTo>
                <a:lnTo>
                  <a:pt x="224" y="228"/>
                </a:lnTo>
                <a:close/>
                <a:moveTo>
                  <a:pt x="496" y="228"/>
                </a:moveTo>
                <a:lnTo>
                  <a:pt x="502" y="228"/>
                </a:lnTo>
                <a:lnTo>
                  <a:pt x="510" y="229"/>
                </a:lnTo>
                <a:lnTo>
                  <a:pt x="517" y="231"/>
                </a:lnTo>
                <a:lnTo>
                  <a:pt x="524" y="234"/>
                </a:lnTo>
                <a:lnTo>
                  <a:pt x="531" y="236"/>
                </a:lnTo>
                <a:lnTo>
                  <a:pt x="538" y="240"/>
                </a:lnTo>
                <a:lnTo>
                  <a:pt x="544" y="244"/>
                </a:lnTo>
                <a:lnTo>
                  <a:pt x="550" y="248"/>
                </a:lnTo>
                <a:lnTo>
                  <a:pt x="555" y="254"/>
                </a:lnTo>
                <a:lnTo>
                  <a:pt x="561" y="259"/>
                </a:lnTo>
                <a:lnTo>
                  <a:pt x="564" y="265"/>
                </a:lnTo>
                <a:lnTo>
                  <a:pt x="568" y="272"/>
                </a:lnTo>
                <a:lnTo>
                  <a:pt x="571" y="279"/>
                </a:lnTo>
                <a:lnTo>
                  <a:pt x="574" y="286"/>
                </a:lnTo>
                <a:lnTo>
                  <a:pt x="575" y="293"/>
                </a:lnTo>
                <a:lnTo>
                  <a:pt x="575" y="300"/>
                </a:lnTo>
                <a:lnTo>
                  <a:pt x="575" y="305"/>
                </a:lnTo>
                <a:lnTo>
                  <a:pt x="573" y="309"/>
                </a:lnTo>
                <a:lnTo>
                  <a:pt x="568" y="312"/>
                </a:lnTo>
                <a:lnTo>
                  <a:pt x="563" y="312"/>
                </a:lnTo>
                <a:lnTo>
                  <a:pt x="559" y="312"/>
                </a:lnTo>
                <a:lnTo>
                  <a:pt x="555" y="309"/>
                </a:lnTo>
                <a:lnTo>
                  <a:pt x="552" y="305"/>
                </a:lnTo>
                <a:lnTo>
                  <a:pt x="551" y="300"/>
                </a:lnTo>
                <a:lnTo>
                  <a:pt x="551" y="295"/>
                </a:lnTo>
                <a:lnTo>
                  <a:pt x="550" y="291"/>
                </a:lnTo>
                <a:lnTo>
                  <a:pt x="549" y="286"/>
                </a:lnTo>
                <a:lnTo>
                  <a:pt x="546" y="281"/>
                </a:lnTo>
                <a:lnTo>
                  <a:pt x="540" y="273"/>
                </a:lnTo>
                <a:lnTo>
                  <a:pt x="533" y="266"/>
                </a:lnTo>
                <a:lnTo>
                  <a:pt x="525" y="260"/>
                </a:lnTo>
                <a:lnTo>
                  <a:pt x="515" y="255"/>
                </a:lnTo>
                <a:lnTo>
                  <a:pt x="506" y="253"/>
                </a:lnTo>
                <a:lnTo>
                  <a:pt x="496" y="251"/>
                </a:lnTo>
                <a:lnTo>
                  <a:pt x="486" y="253"/>
                </a:lnTo>
                <a:lnTo>
                  <a:pt x="476" y="255"/>
                </a:lnTo>
                <a:lnTo>
                  <a:pt x="467" y="260"/>
                </a:lnTo>
                <a:lnTo>
                  <a:pt x="460" y="266"/>
                </a:lnTo>
                <a:lnTo>
                  <a:pt x="452" y="274"/>
                </a:lnTo>
                <a:lnTo>
                  <a:pt x="448" y="282"/>
                </a:lnTo>
                <a:lnTo>
                  <a:pt x="445" y="291"/>
                </a:lnTo>
                <a:lnTo>
                  <a:pt x="444" y="300"/>
                </a:lnTo>
                <a:lnTo>
                  <a:pt x="443" y="305"/>
                </a:lnTo>
                <a:lnTo>
                  <a:pt x="441" y="309"/>
                </a:lnTo>
                <a:lnTo>
                  <a:pt x="437" y="312"/>
                </a:lnTo>
                <a:lnTo>
                  <a:pt x="432" y="312"/>
                </a:lnTo>
                <a:lnTo>
                  <a:pt x="427" y="312"/>
                </a:lnTo>
                <a:lnTo>
                  <a:pt x="424" y="309"/>
                </a:lnTo>
                <a:lnTo>
                  <a:pt x="420" y="305"/>
                </a:lnTo>
                <a:lnTo>
                  <a:pt x="420" y="300"/>
                </a:lnTo>
                <a:lnTo>
                  <a:pt x="420" y="293"/>
                </a:lnTo>
                <a:lnTo>
                  <a:pt x="421" y="286"/>
                </a:lnTo>
                <a:lnTo>
                  <a:pt x="424" y="279"/>
                </a:lnTo>
                <a:lnTo>
                  <a:pt x="426" y="273"/>
                </a:lnTo>
                <a:lnTo>
                  <a:pt x="430" y="267"/>
                </a:lnTo>
                <a:lnTo>
                  <a:pt x="433" y="261"/>
                </a:lnTo>
                <a:lnTo>
                  <a:pt x="438" y="255"/>
                </a:lnTo>
                <a:lnTo>
                  <a:pt x="443" y="249"/>
                </a:lnTo>
                <a:lnTo>
                  <a:pt x="448" y="244"/>
                </a:lnTo>
                <a:lnTo>
                  <a:pt x="454" y="241"/>
                </a:lnTo>
                <a:lnTo>
                  <a:pt x="461" y="237"/>
                </a:lnTo>
                <a:lnTo>
                  <a:pt x="467" y="234"/>
                </a:lnTo>
                <a:lnTo>
                  <a:pt x="474" y="231"/>
                </a:lnTo>
                <a:lnTo>
                  <a:pt x="481" y="229"/>
                </a:lnTo>
                <a:lnTo>
                  <a:pt x="488" y="228"/>
                </a:lnTo>
                <a:lnTo>
                  <a:pt x="496" y="228"/>
                </a:lnTo>
                <a:close/>
                <a:moveTo>
                  <a:pt x="360" y="0"/>
                </a:moveTo>
                <a:lnTo>
                  <a:pt x="342" y="2"/>
                </a:lnTo>
                <a:lnTo>
                  <a:pt x="323" y="3"/>
                </a:lnTo>
                <a:lnTo>
                  <a:pt x="305" y="5"/>
                </a:lnTo>
                <a:lnTo>
                  <a:pt x="287" y="9"/>
                </a:lnTo>
                <a:lnTo>
                  <a:pt x="270" y="12"/>
                </a:lnTo>
                <a:lnTo>
                  <a:pt x="254" y="17"/>
                </a:lnTo>
                <a:lnTo>
                  <a:pt x="236" y="23"/>
                </a:lnTo>
                <a:lnTo>
                  <a:pt x="220" y="29"/>
                </a:lnTo>
                <a:lnTo>
                  <a:pt x="204" y="36"/>
                </a:lnTo>
                <a:lnTo>
                  <a:pt x="188" y="44"/>
                </a:lnTo>
                <a:lnTo>
                  <a:pt x="174" y="53"/>
                </a:lnTo>
                <a:lnTo>
                  <a:pt x="159" y="62"/>
                </a:lnTo>
                <a:lnTo>
                  <a:pt x="146" y="73"/>
                </a:lnTo>
                <a:lnTo>
                  <a:pt x="131" y="84"/>
                </a:lnTo>
                <a:lnTo>
                  <a:pt x="118" y="94"/>
                </a:lnTo>
                <a:lnTo>
                  <a:pt x="106" y="106"/>
                </a:lnTo>
                <a:lnTo>
                  <a:pt x="94" y="119"/>
                </a:lnTo>
                <a:lnTo>
                  <a:pt x="82" y="132"/>
                </a:lnTo>
                <a:lnTo>
                  <a:pt x="72" y="146"/>
                </a:lnTo>
                <a:lnTo>
                  <a:pt x="62" y="160"/>
                </a:lnTo>
                <a:lnTo>
                  <a:pt x="53" y="174"/>
                </a:lnTo>
                <a:lnTo>
                  <a:pt x="44" y="190"/>
                </a:lnTo>
                <a:lnTo>
                  <a:pt x="36" y="205"/>
                </a:lnTo>
                <a:lnTo>
                  <a:pt x="29" y="220"/>
                </a:lnTo>
                <a:lnTo>
                  <a:pt x="23" y="237"/>
                </a:lnTo>
                <a:lnTo>
                  <a:pt x="17" y="254"/>
                </a:lnTo>
                <a:lnTo>
                  <a:pt x="12" y="270"/>
                </a:lnTo>
                <a:lnTo>
                  <a:pt x="8" y="288"/>
                </a:lnTo>
                <a:lnTo>
                  <a:pt x="5" y="306"/>
                </a:lnTo>
                <a:lnTo>
                  <a:pt x="3" y="324"/>
                </a:lnTo>
                <a:lnTo>
                  <a:pt x="2" y="342"/>
                </a:lnTo>
                <a:lnTo>
                  <a:pt x="0" y="361"/>
                </a:lnTo>
                <a:lnTo>
                  <a:pt x="2" y="379"/>
                </a:lnTo>
                <a:lnTo>
                  <a:pt x="3" y="397"/>
                </a:lnTo>
                <a:lnTo>
                  <a:pt x="5" y="416"/>
                </a:lnTo>
                <a:lnTo>
                  <a:pt x="8" y="432"/>
                </a:lnTo>
                <a:lnTo>
                  <a:pt x="12" y="450"/>
                </a:lnTo>
                <a:lnTo>
                  <a:pt x="17" y="467"/>
                </a:lnTo>
                <a:lnTo>
                  <a:pt x="23" y="483"/>
                </a:lnTo>
                <a:lnTo>
                  <a:pt x="29" y="500"/>
                </a:lnTo>
                <a:lnTo>
                  <a:pt x="36" y="515"/>
                </a:lnTo>
                <a:lnTo>
                  <a:pt x="44" y="531"/>
                </a:lnTo>
                <a:lnTo>
                  <a:pt x="53" y="546"/>
                </a:lnTo>
                <a:lnTo>
                  <a:pt x="62" y="561"/>
                </a:lnTo>
                <a:lnTo>
                  <a:pt x="72" y="575"/>
                </a:lnTo>
                <a:lnTo>
                  <a:pt x="82" y="589"/>
                </a:lnTo>
                <a:lnTo>
                  <a:pt x="94" y="602"/>
                </a:lnTo>
                <a:lnTo>
                  <a:pt x="106" y="614"/>
                </a:lnTo>
                <a:lnTo>
                  <a:pt x="118" y="626"/>
                </a:lnTo>
                <a:lnTo>
                  <a:pt x="131" y="638"/>
                </a:lnTo>
                <a:lnTo>
                  <a:pt x="146" y="649"/>
                </a:lnTo>
                <a:lnTo>
                  <a:pt x="159" y="658"/>
                </a:lnTo>
                <a:lnTo>
                  <a:pt x="174" y="668"/>
                </a:lnTo>
                <a:lnTo>
                  <a:pt x="188" y="676"/>
                </a:lnTo>
                <a:lnTo>
                  <a:pt x="204" y="684"/>
                </a:lnTo>
                <a:lnTo>
                  <a:pt x="220" y="692"/>
                </a:lnTo>
                <a:lnTo>
                  <a:pt x="236" y="697"/>
                </a:lnTo>
                <a:lnTo>
                  <a:pt x="254" y="703"/>
                </a:lnTo>
                <a:lnTo>
                  <a:pt x="270" y="708"/>
                </a:lnTo>
                <a:lnTo>
                  <a:pt x="287" y="713"/>
                </a:lnTo>
                <a:lnTo>
                  <a:pt x="305" y="715"/>
                </a:lnTo>
                <a:lnTo>
                  <a:pt x="323" y="718"/>
                </a:lnTo>
                <a:lnTo>
                  <a:pt x="342" y="719"/>
                </a:lnTo>
                <a:lnTo>
                  <a:pt x="360" y="720"/>
                </a:lnTo>
                <a:lnTo>
                  <a:pt x="379" y="719"/>
                </a:lnTo>
                <a:lnTo>
                  <a:pt x="397" y="718"/>
                </a:lnTo>
                <a:lnTo>
                  <a:pt x="414" y="715"/>
                </a:lnTo>
                <a:lnTo>
                  <a:pt x="432" y="713"/>
                </a:lnTo>
                <a:lnTo>
                  <a:pt x="450" y="708"/>
                </a:lnTo>
                <a:lnTo>
                  <a:pt x="467" y="703"/>
                </a:lnTo>
                <a:lnTo>
                  <a:pt x="483" y="697"/>
                </a:lnTo>
                <a:lnTo>
                  <a:pt x="500" y="692"/>
                </a:lnTo>
                <a:lnTo>
                  <a:pt x="515" y="684"/>
                </a:lnTo>
                <a:lnTo>
                  <a:pt x="531" y="676"/>
                </a:lnTo>
                <a:lnTo>
                  <a:pt x="546" y="668"/>
                </a:lnTo>
                <a:lnTo>
                  <a:pt x="561" y="658"/>
                </a:lnTo>
                <a:lnTo>
                  <a:pt x="575" y="649"/>
                </a:lnTo>
                <a:lnTo>
                  <a:pt x="588" y="638"/>
                </a:lnTo>
                <a:lnTo>
                  <a:pt x="601" y="626"/>
                </a:lnTo>
                <a:lnTo>
                  <a:pt x="614" y="614"/>
                </a:lnTo>
                <a:lnTo>
                  <a:pt x="626" y="602"/>
                </a:lnTo>
                <a:lnTo>
                  <a:pt x="637" y="589"/>
                </a:lnTo>
                <a:lnTo>
                  <a:pt x="648" y="575"/>
                </a:lnTo>
                <a:lnTo>
                  <a:pt x="658" y="561"/>
                </a:lnTo>
                <a:lnTo>
                  <a:pt x="668" y="546"/>
                </a:lnTo>
                <a:lnTo>
                  <a:pt x="676" y="531"/>
                </a:lnTo>
                <a:lnTo>
                  <a:pt x="683" y="515"/>
                </a:lnTo>
                <a:lnTo>
                  <a:pt x="692" y="500"/>
                </a:lnTo>
                <a:lnTo>
                  <a:pt x="697" y="483"/>
                </a:lnTo>
                <a:lnTo>
                  <a:pt x="703" y="467"/>
                </a:lnTo>
                <a:lnTo>
                  <a:pt x="708" y="450"/>
                </a:lnTo>
                <a:lnTo>
                  <a:pt x="712" y="432"/>
                </a:lnTo>
                <a:lnTo>
                  <a:pt x="715" y="416"/>
                </a:lnTo>
                <a:lnTo>
                  <a:pt x="718" y="397"/>
                </a:lnTo>
                <a:lnTo>
                  <a:pt x="719" y="379"/>
                </a:lnTo>
                <a:lnTo>
                  <a:pt x="719" y="361"/>
                </a:lnTo>
                <a:lnTo>
                  <a:pt x="719" y="342"/>
                </a:lnTo>
                <a:lnTo>
                  <a:pt x="718" y="324"/>
                </a:lnTo>
                <a:lnTo>
                  <a:pt x="715" y="306"/>
                </a:lnTo>
                <a:lnTo>
                  <a:pt x="712" y="288"/>
                </a:lnTo>
                <a:lnTo>
                  <a:pt x="708" y="270"/>
                </a:lnTo>
                <a:lnTo>
                  <a:pt x="703" y="254"/>
                </a:lnTo>
                <a:lnTo>
                  <a:pt x="697" y="237"/>
                </a:lnTo>
                <a:lnTo>
                  <a:pt x="692" y="220"/>
                </a:lnTo>
                <a:lnTo>
                  <a:pt x="683" y="205"/>
                </a:lnTo>
                <a:lnTo>
                  <a:pt x="676" y="190"/>
                </a:lnTo>
                <a:lnTo>
                  <a:pt x="668" y="174"/>
                </a:lnTo>
                <a:lnTo>
                  <a:pt x="658" y="160"/>
                </a:lnTo>
                <a:lnTo>
                  <a:pt x="648" y="146"/>
                </a:lnTo>
                <a:lnTo>
                  <a:pt x="637" y="132"/>
                </a:lnTo>
                <a:lnTo>
                  <a:pt x="626" y="119"/>
                </a:lnTo>
                <a:lnTo>
                  <a:pt x="614" y="106"/>
                </a:lnTo>
                <a:lnTo>
                  <a:pt x="601" y="94"/>
                </a:lnTo>
                <a:lnTo>
                  <a:pt x="588" y="84"/>
                </a:lnTo>
                <a:lnTo>
                  <a:pt x="575" y="73"/>
                </a:lnTo>
                <a:lnTo>
                  <a:pt x="561" y="62"/>
                </a:lnTo>
                <a:lnTo>
                  <a:pt x="546" y="53"/>
                </a:lnTo>
                <a:lnTo>
                  <a:pt x="531" y="44"/>
                </a:lnTo>
                <a:lnTo>
                  <a:pt x="515" y="36"/>
                </a:lnTo>
                <a:lnTo>
                  <a:pt x="500" y="29"/>
                </a:lnTo>
                <a:lnTo>
                  <a:pt x="483" y="23"/>
                </a:lnTo>
                <a:lnTo>
                  <a:pt x="467" y="17"/>
                </a:lnTo>
                <a:lnTo>
                  <a:pt x="450" y="12"/>
                </a:lnTo>
                <a:lnTo>
                  <a:pt x="432" y="9"/>
                </a:lnTo>
                <a:lnTo>
                  <a:pt x="414" y="5"/>
                </a:lnTo>
                <a:lnTo>
                  <a:pt x="397" y="3"/>
                </a:lnTo>
                <a:lnTo>
                  <a:pt x="379" y="2"/>
                </a:lnTo>
                <a:lnTo>
                  <a:pt x="360" y="2"/>
                </a:lnTo>
                <a:lnTo>
                  <a:pt x="36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blurRad="50800" dist="38100" dir="5400000" algn="t" rotWithShape="0">
              <a:prstClr val="black">
                <a:alpha val="2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135" name="Group 134">
            <a:extLst>
              <a:ext uri="{FF2B5EF4-FFF2-40B4-BE49-F238E27FC236}">
                <a16:creationId xmlns:a16="http://schemas.microsoft.com/office/drawing/2014/main" id="{27FBC039-143F-4AAE-9FB4-538A7FD730F0}"/>
              </a:ext>
            </a:extLst>
          </p:cNvPr>
          <p:cNvGrpSpPr/>
          <p:nvPr/>
        </p:nvGrpSpPr>
        <p:grpSpPr>
          <a:xfrm>
            <a:off x="3066053" y="3769484"/>
            <a:ext cx="285750" cy="276225"/>
            <a:chOff x="3741701" y="1930400"/>
            <a:chExt cx="285750" cy="276225"/>
          </a:xfrm>
          <a:solidFill>
            <a:schemeClr val="bg1"/>
          </a:solidFill>
          <a:effectLst>
            <a:outerShdw blurRad="50800" dist="38100" dir="5400000" algn="t" rotWithShape="0">
              <a:prstClr val="black">
                <a:alpha val="20000"/>
              </a:prstClr>
            </a:outerShdw>
          </a:effectLst>
        </p:grpSpPr>
        <p:sp>
          <p:nvSpPr>
            <p:cNvPr id="136" name="Freeform 3129">
              <a:extLst>
                <a:ext uri="{FF2B5EF4-FFF2-40B4-BE49-F238E27FC236}">
                  <a16:creationId xmlns:a16="http://schemas.microsoft.com/office/drawing/2014/main" id="{810938E8-D5A2-48BC-AE30-C527F632B03C}"/>
                </a:ext>
              </a:extLst>
            </p:cNvPr>
            <p:cNvSpPr>
              <a:spLocks/>
            </p:cNvSpPr>
            <p:nvPr/>
          </p:nvSpPr>
          <p:spPr bwMode="auto">
            <a:xfrm>
              <a:off x="3741701" y="2063750"/>
              <a:ext cx="285750" cy="142875"/>
            </a:xfrm>
            <a:custGeom>
              <a:avLst/>
              <a:gdLst>
                <a:gd name="T0" fmla="*/ 706 w 718"/>
                <a:gd name="T1" fmla="*/ 0 h 359"/>
                <a:gd name="T2" fmla="*/ 247 w 718"/>
                <a:gd name="T3" fmla="*/ 0 h 359"/>
                <a:gd name="T4" fmla="*/ 138 w 718"/>
                <a:gd name="T5" fmla="*/ 81 h 359"/>
                <a:gd name="T6" fmla="*/ 135 w 718"/>
                <a:gd name="T7" fmla="*/ 83 h 359"/>
                <a:gd name="T8" fmla="*/ 130 w 718"/>
                <a:gd name="T9" fmla="*/ 83 h 359"/>
                <a:gd name="T10" fmla="*/ 128 w 718"/>
                <a:gd name="T11" fmla="*/ 83 h 359"/>
                <a:gd name="T12" fmla="*/ 126 w 718"/>
                <a:gd name="T13" fmla="*/ 82 h 359"/>
                <a:gd name="T14" fmla="*/ 123 w 718"/>
                <a:gd name="T15" fmla="*/ 80 h 359"/>
                <a:gd name="T16" fmla="*/ 121 w 718"/>
                <a:gd name="T17" fmla="*/ 77 h 359"/>
                <a:gd name="T18" fmla="*/ 120 w 718"/>
                <a:gd name="T19" fmla="*/ 75 h 359"/>
                <a:gd name="T20" fmla="*/ 118 w 718"/>
                <a:gd name="T21" fmla="*/ 71 h 359"/>
                <a:gd name="T22" fmla="*/ 118 w 718"/>
                <a:gd name="T23" fmla="*/ 0 h 359"/>
                <a:gd name="T24" fmla="*/ 11 w 718"/>
                <a:gd name="T25" fmla="*/ 0 h 359"/>
                <a:gd name="T26" fmla="*/ 7 w 718"/>
                <a:gd name="T27" fmla="*/ 0 h 359"/>
                <a:gd name="T28" fmla="*/ 3 w 718"/>
                <a:gd name="T29" fmla="*/ 3 h 359"/>
                <a:gd name="T30" fmla="*/ 0 w 718"/>
                <a:gd name="T31" fmla="*/ 7 h 359"/>
                <a:gd name="T32" fmla="*/ 0 w 718"/>
                <a:gd name="T33" fmla="*/ 12 h 359"/>
                <a:gd name="T34" fmla="*/ 0 w 718"/>
                <a:gd name="T35" fmla="*/ 227 h 359"/>
                <a:gd name="T36" fmla="*/ 0 w 718"/>
                <a:gd name="T37" fmla="*/ 232 h 359"/>
                <a:gd name="T38" fmla="*/ 3 w 718"/>
                <a:gd name="T39" fmla="*/ 235 h 359"/>
                <a:gd name="T40" fmla="*/ 7 w 718"/>
                <a:gd name="T41" fmla="*/ 238 h 359"/>
                <a:gd name="T42" fmla="*/ 11 w 718"/>
                <a:gd name="T43" fmla="*/ 239 h 359"/>
                <a:gd name="T44" fmla="*/ 425 w 718"/>
                <a:gd name="T45" fmla="*/ 239 h 359"/>
                <a:gd name="T46" fmla="*/ 554 w 718"/>
                <a:gd name="T47" fmla="*/ 356 h 359"/>
                <a:gd name="T48" fmla="*/ 557 w 718"/>
                <a:gd name="T49" fmla="*/ 358 h 359"/>
                <a:gd name="T50" fmla="*/ 562 w 718"/>
                <a:gd name="T51" fmla="*/ 359 h 359"/>
                <a:gd name="T52" fmla="*/ 565 w 718"/>
                <a:gd name="T53" fmla="*/ 359 h 359"/>
                <a:gd name="T54" fmla="*/ 567 w 718"/>
                <a:gd name="T55" fmla="*/ 358 h 359"/>
                <a:gd name="T56" fmla="*/ 569 w 718"/>
                <a:gd name="T57" fmla="*/ 356 h 359"/>
                <a:gd name="T58" fmla="*/ 572 w 718"/>
                <a:gd name="T59" fmla="*/ 353 h 359"/>
                <a:gd name="T60" fmla="*/ 573 w 718"/>
                <a:gd name="T61" fmla="*/ 351 h 359"/>
                <a:gd name="T62" fmla="*/ 574 w 718"/>
                <a:gd name="T63" fmla="*/ 347 h 359"/>
                <a:gd name="T64" fmla="*/ 574 w 718"/>
                <a:gd name="T65" fmla="*/ 239 h 359"/>
                <a:gd name="T66" fmla="*/ 706 w 718"/>
                <a:gd name="T67" fmla="*/ 239 h 359"/>
                <a:gd name="T68" fmla="*/ 711 w 718"/>
                <a:gd name="T69" fmla="*/ 238 h 359"/>
                <a:gd name="T70" fmla="*/ 714 w 718"/>
                <a:gd name="T71" fmla="*/ 235 h 359"/>
                <a:gd name="T72" fmla="*/ 717 w 718"/>
                <a:gd name="T73" fmla="*/ 232 h 359"/>
                <a:gd name="T74" fmla="*/ 718 w 718"/>
                <a:gd name="T75" fmla="*/ 227 h 359"/>
                <a:gd name="T76" fmla="*/ 718 w 718"/>
                <a:gd name="T77" fmla="*/ 12 h 359"/>
                <a:gd name="T78" fmla="*/ 717 w 718"/>
                <a:gd name="T79" fmla="*/ 7 h 359"/>
                <a:gd name="T80" fmla="*/ 714 w 718"/>
                <a:gd name="T81" fmla="*/ 3 h 359"/>
                <a:gd name="T82" fmla="*/ 711 w 718"/>
                <a:gd name="T83" fmla="*/ 0 h 359"/>
                <a:gd name="T84" fmla="*/ 706 w 718"/>
                <a:gd name="T85" fmla="*/ 0 h 3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718" h="359">
                  <a:moveTo>
                    <a:pt x="706" y="0"/>
                  </a:moveTo>
                  <a:lnTo>
                    <a:pt x="247" y="0"/>
                  </a:lnTo>
                  <a:lnTo>
                    <a:pt x="138" y="81"/>
                  </a:lnTo>
                  <a:lnTo>
                    <a:pt x="135" y="83"/>
                  </a:lnTo>
                  <a:lnTo>
                    <a:pt x="130" y="83"/>
                  </a:lnTo>
                  <a:lnTo>
                    <a:pt x="128" y="83"/>
                  </a:lnTo>
                  <a:lnTo>
                    <a:pt x="126" y="82"/>
                  </a:lnTo>
                  <a:lnTo>
                    <a:pt x="123" y="80"/>
                  </a:lnTo>
                  <a:lnTo>
                    <a:pt x="121" y="77"/>
                  </a:lnTo>
                  <a:lnTo>
                    <a:pt x="120" y="75"/>
                  </a:lnTo>
                  <a:lnTo>
                    <a:pt x="118" y="71"/>
                  </a:lnTo>
                  <a:lnTo>
                    <a:pt x="118" y="0"/>
                  </a:lnTo>
                  <a:lnTo>
                    <a:pt x="11" y="0"/>
                  </a:lnTo>
                  <a:lnTo>
                    <a:pt x="7" y="0"/>
                  </a:lnTo>
                  <a:lnTo>
                    <a:pt x="3" y="3"/>
                  </a:lnTo>
                  <a:lnTo>
                    <a:pt x="0" y="7"/>
                  </a:lnTo>
                  <a:lnTo>
                    <a:pt x="0" y="12"/>
                  </a:lnTo>
                  <a:lnTo>
                    <a:pt x="0" y="227"/>
                  </a:lnTo>
                  <a:lnTo>
                    <a:pt x="0" y="232"/>
                  </a:lnTo>
                  <a:lnTo>
                    <a:pt x="3" y="235"/>
                  </a:lnTo>
                  <a:lnTo>
                    <a:pt x="7" y="238"/>
                  </a:lnTo>
                  <a:lnTo>
                    <a:pt x="11" y="239"/>
                  </a:lnTo>
                  <a:lnTo>
                    <a:pt x="425" y="239"/>
                  </a:lnTo>
                  <a:lnTo>
                    <a:pt x="554" y="356"/>
                  </a:lnTo>
                  <a:lnTo>
                    <a:pt x="557" y="358"/>
                  </a:lnTo>
                  <a:lnTo>
                    <a:pt x="562" y="359"/>
                  </a:lnTo>
                  <a:lnTo>
                    <a:pt x="565" y="359"/>
                  </a:lnTo>
                  <a:lnTo>
                    <a:pt x="567" y="358"/>
                  </a:lnTo>
                  <a:lnTo>
                    <a:pt x="569" y="356"/>
                  </a:lnTo>
                  <a:lnTo>
                    <a:pt x="572" y="353"/>
                  </a:lnTo>
                  <a:lnTo>
                    <a:pt x="573" y="351"/>
                  </a:lnTo>
                  <a:lnTo>
                    <a:pt x="574" y="347"/>
                  </a:lnTo>
                  <a:lnTo>
                    <a:pt x="574" y="239"/>
                  </a:lnTo>
                  <a:lnTo>
                    <a:pt x="706" y="239"/>
                  </a:lnTo>
                  <a:lnTo>
                    <a:pt x="711" y="238"/>
                  </a:lnTo>
                  <a:lnTo>
                    <a:pt x="714" y="235"/>
                  </a:lnTo>
                  <a:lnTo>
                    <a:pt x="717" y="232"/>
                  </a:lnTo>
                  <a:lnTo>
                    <a:pt x="718" y="227"/>
                  </a:lnTo>
                  <a:lnTo>
                    <a:pt x="718" y="12"/>
                  </a:lnTo>
                  <a:lnTo>
                    <a:pt x="717" y="7"/>
                  </a:lnTo>
                  <a:lnTo>
                    <a:pt x="714" y="3"/>
                  </a:lnTo>
                  <a:lnTo>
                    <a:pt x="711" y="0"/>
                  </a:lnTo>
                  <a:lnTo>
                    <a:pt x="70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7" name="Freeform 3130">
              <a:extLst>
                <a:ext uri="{FF2B5EF4-FFF2-40B4-BE49-F238E27FC236}">
                  <a16:creationId xmlns:a16="http://schemas.microsoft.com/office/drawing/2014/main" id="{28107E1B-C1B2-4DD5-AB6D-A51F64E82632}"/>
                </a:ext>
              </a:extLst>
            </p:cNvPr>
            <p:cNvSpPr>
              <a:spLocks/>
            </p:cNvSpPr>
            <p:nvPr/>
          </p:nvSpPr>
          <p:spPr bwMode="auto">
            <a:xfrm>
              <a:off x="3741701" y="1930400"/>
              <a:ext cx="285750" cy="152400"/>
            </a:xfrm>
            <a:custGeom>
              <a:avLst/>
              <a:gdLst>
                <a:gd name="T0" fmla="*/ 706 w 718"/>
                <a:gd name="T1" fmla="*/ 0 h 383"/>
                <a:gd name="T2" fmla="*/ 11 w 718"/>
                <a:gd name="T3" fmla="*/ 0 h 383"/>
                <a:gd name="T4" fmla="*/ 7 w 718"/>
                <a:gd name="T5" fmla="*/ 2 h 383"/>
                <a:gd name="T6" fmla="*/ 3 w 718"/>
                <a:gd name="T7" fmla="*/ 4 h 383"/>
                <a:gd name="T8" fmla="*/ 0 w 718"/>
                <a:gd name="T9" fmla="*/ 8 h 383"/>
                <a:gd name="T10" fmla="*/ 0 w 718"/>
                <a:gd name="T11" fmla="*/ 12 h 383"/>
                <a:gd name="T12" fmla="*/ 0 w 718"/>
                <a:gd name="T13" fmla="*/ 251 h 383"/>
                <a:gd name="T14" fmla="*/ 0 w 718"/>
                <a:gd name="T15" fmla="*/ 256 h 383"/>
                <a:gd name="T16" fmla="*/ 3 w 718"/>
                <a:gd name="T17" fmla="*/ 260 h 383"/>
                <a:gd name="T18" fmla="*/ 7 w 718"/>
                <a:gd name="T19" fmla="*/ 262 h 383"/>
                <a:gd name="T20" fmla="*/ 11 w 718"/>
                <a:gd name="T21" fmla="*/ 263 h 383"/>
                <a:gd name="T22" fmla="*/ 130 w 718"/>
                <a:gd name="T23" fmla="*/ 263 h 383"/>
                <a:gd name="T24" fmla="*/ 142 w 718"/>
                <a:gd name="T25" fmla="*/ 263 h 383"/>
                <a:gd name="T26" fmla="*/ 142 w 718"/>
                <a:gd name="T27" fmla="*/ 275 h 383"/>
                <a:gd name="T28" fmla="*/ 142 w 718"/>
                <a:gd name="T29" fmla="*/ 360 h 383"/>
                <a:gd name="T30" fmla="*/ 142 w 718"/>
                <a:gd name="T31" fmla="*/ 383 h 383"/>
                <a:gd name="T32" fmla="*/ 207 w 718"/>
                <a:gd name="T33" fmla="*/ 336 h 383"/>
                <a:gd name="T34" fmla="*/ 233 w 718"/>
                <a:gd name="T35" fmla="*/ 317 h 383"/>
                <a:gd name="T36" fmla="*/ 299 w 718"/>
                <a:gd name="T37" fmla="*/ 266 h 383"/>
                <a:gd name="T38" fmla="*/ 299 w 718"/>
                <a:gd name="T39" fmla="*/ 266 h 383"/>
                <a:gd name="T40" fmla="*/ 299 w 718"/>
                <a:gd name="T41" fmla="*/ 266 h 383"/>
                <a:gd name="T42" fmla="*/ 303 w 718"/>
                <a:gd name="T43" fmla="*/ 263 h 383"/>
                <a:gd name="T44" fmla="*/ 306 w 718"/>
                <a:gd name="T45" fmla="*/ 263 h 383"/>
                <a:gd name="T46" fmla="*/ 706 w 718"/>
                <a:gd name="T47" fmla="*/ 263 h 383"/>
                <a:gd name="T48" fmla="*/ 711 w 718"/>
                <a:gd name="T49" fmla="*/ 262 h 383"/>
                <a:gd name="T50" fmla="*/ 714 w 718"/>
                <a:gd name="T51" fmla="*/ 260 h 383"/>
                <a:gd name="T52" fmla="*/ 717 w 718"/>
                <a:gd name="T53" fmla="*/ 256 h 383"/>
                <a:gd name="T54" fmla="*/ 718 w 718"/>
                <a:gd name="T55" fmla="*/ 251 h 383"/>
                <a:gd name="T56" fmla="*/ 718 w 718"/>
                <a:gd name="T57" fmla="*/ 12 h 383"/>
                <a:gd name="T58" fmla="*/ 717 w 718"/>
                <a:gd name="T59" fmla="*/ 8 h 383"/>
                <a:gd name="T60" fmla="*/ 714 w 718"/>
                <a:gd name="T61" fmla="*/ 4 h 383"/>
                <a:gd name="T62" fmla="*/ 711 w 718"/>
                <a:gd name="T63" fmla="*/ 2 h 383"/>
                <a:gd name="T64" fmla="*/ 706 w 718"/>
                <a:gd name="T65" fmla="*/ 0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718" h="383">
                  <a:moveTo>
                    <a:pt x="706" y="0"/>
                  </a:moveTo>
                  <a:lnTo>
                    <a:pt x="11" y="0"/>
                  </a:lnTo>
                  <a:lnTo>
                    <a:pt x="7" y="2"/>
                  </a:lnTo>
                  <a:lnTo>
                    <a:pt x="3" y="4"/>
                  </a:lnTo>
                  <a:lnTo>
                    <a:pt x="0" y="8"/>
                  </a:lnTo>
                  <a:lnTo>
                    <a:pt x="0" y="12"/>
                  </a:lnTo>
                  <a:lnTo>
                    <a:pt x="0" y="251"/>
                  </a:lnTo>
                  <a:lnTo>
                    <a:pt x="0" y="256"/>
                  </a:lnTo>
                  <a:lnTo>
                    <a:pt x="3" y="260"/>
                  </a:lnTo>
                  <a:lnTo>
                    <a:pt x="7" y="262"/>
                  </a:lnTo>
                  <a:lnTo>
                    <a:pt x="11" y="263"/>
                  </a:lnTo>
                  <a:lnTo>
                    <a:pt x="130" y="263"/>
                  </a:lnTo>
                  <a:lnTo>
                    <a:pt x="142" y="263"/>
                  </a:lnTo>
                  <a:lnTo>
                    <a:pt x="142" y="275"/>
                  </a:lnTo>
                  <a:lnTo>
                    <a:pt x="142" y="360"/>
                  </a:lnTo>
                  <a:lnTo>
                    <a:pt x="142" y="383"/>
                  </a:lnTo>
                  <a:lnTo>
                    <a:pt x="207" y="336"/>
                  </a:lnTo>
                  <a:lnTo>
                    <a:pt x="233" y="317"/>
                  </a:lnTo>
                  <a:lnTo>
                    <a:pt x="299" y="266"/>
                  </a:lnTo>
                  <a:lnTo>
                    <a:pt x="299" y="266"/>
                  </a:lnTo>
                  <a:lnTo>
                    <a:pt x="299" y="266"/>
                  </a:lnTo>
                  <a:lnTo>
                    <a:pt x="303" y="263"/>
                  </a:lnTo>
                  <a:lnTo>
                    <a:pt x="306" y="263"/>
                  </a:lnTo>
                  <a:lnTo>
                    <a:pt x="706" y="263"/>
                  </a:lnTo>
                  <a:lnTo>
                    <a:pt x="711" y="262"/>
                  </a:lnTo>
                  <a:lnTo>
                    <a:pt x="714" y="260"/>
                  </a:lnTo>
                  <a:lnTo>
                    <a:pt x="717" y="256"/>
                  </a:lnTo>
                  <a:lnTo>
                    <a:pt x="718" y="251"/>
                  </a:lnTo>
                  <a:lnTo>
                    <a:pt x="718" y="12"/>
                  </a:lnTo>
                  <a:lnTo>
                    <a:pt x="717" y="8"/>
                  </a:lnTo>
                  <a:lnTo>
                    <a:pt x="714" y="4"/>
                  </a:lnTo>
                  <a:lnTo>
                    <a:pt x="711" y="2"/>
                  </a:lnTo>
                  <a:lnTo>
                    <a:pt x="70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53" name="Rectangle 2">
            <a:extLst>
              <a:ext uri="{FF2B5EF4-FFF2-40B4-BE49-F238E27FC236}">
                <a16:creationId xmlns:a16="http://schemas.microsoft.com/office/drawing/2014/main" id="{D92C8FB2-0B02-492F-8F3F-89D793AB5202}"/>
              </a:ext>
            </a:extLst>
          </p:cNvPr>
          <p:cNvSpPr/>
          <p:nvPr/>
        </p:nvSpPr>
        <p:spPr>
          <a:xfrm>
            <a:off x="0" y="264294"/>
            <a:ext cx="1757680" cy="741204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52AE45C4-1FC9-460E-AED4-27B531B230DD}"/>
              </a:ext>
            </a:extLst>
          </p:cNvPr>
          <p:cNvSpPr/>
          <p:nvPr/>
        </p:nvSpPr>
        <p:spPr>
          <a:xfrm>
            <a:off x="8575041" y="293170"/>
            <a:ext cx="3616959" cy="741204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E966847B-1AC2-4CE9-B870-5B176838EB7C}"/>
              </a:ext>
            </a:extLst>
          </p:cNvPr>
          <p:cNvSpPr/>
          <p:nvPr/>
        </p:nvSpPr>
        <p:spPr>
          <a:xfrm>
            <a:off x="1669999" y="268118"/>
            <a:ext cx="6817360" cy="74120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dirty="0">
                <a:solidFill>
                  <a:schemeClr val="tx1"/>
                </a:solidFill>
                <a:ea typeface="+mn-lt"/>
                <a:cs typeface="+mn-lt"/>
              </a:rPr>
              <a:t>Detailed Solution:</a:t>
            </a:r>
          </a:p>
          <a:p>
            <a:pPr algn="ctr"/>
            <a:r>
              <a:rPr lang="en-US" sz="2800" dirty="0">
                <a:solidFill>
                  <a:schemeClr val="tx1"/>
                </a:solidFill>
                <a:ea typeface="+mn-lt"/>
                <a:cs typeface="+mn-lt"/>
              </a:rPr>
              <a:t>Irrelevant content on "Best of Craigslist"</a:t>
            </a:r>
          </a:p>
        </p:txBody>
      </p:sp>
      <p:pic>
        <p:nvPicPr>
          <p:cNvPr id="7" name="Graphic 6" descr="Playbook">
            <a:extLst>
              <a:ext uri="{FF2B5EF4-FFF2-40B4-BE49-F238E27FC236}">
                <a16:creationId xmlns:a16="http://schemas.microsoft.com/office/drawing/2014/main" id="{07CACFA0-1F6C-459C-89B4-AFC07C8C047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069696" y="4601273"/>
            <a:ext cx="457200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301128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58" grpId="0" animBg="1"/>
      <p:bldP spid="59" grpId="0" animBg="1"/>
      <p:bldP spid="60" grpId="0" animBg="1"/>
      <p:bldP spid="61" grpId="0" animBg="1"/>
      <p:bldP spid="62" grpId="0" animBg="1"/>
      <p:bldP spid="64" grpId="0" animBg="1"/>
      <p:bldP spid="65" grpId="0" animBg="1"/>
      <p:bldP spid="66" grpId="0" animBg="1"/>
      <p:bldP spid="67" grpId="0" animBg="1"/>
      <p:bldP spid="134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Content Placeholder 21">
            <a:extLst>
              <a:ext uri="{FF2B5EF4-FFF2-40B4-BE49-F238E27FC236}">
                <a16:creationId xmlns:a16="http://schemas.microsoft.com/office/drawing/2014/main" id="{A80A98B8-6DAB-784F-AE8C-FDC98086080A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318265" y="5562668"/>
            <a:ext cx="2503515" cy="963852"/>
          </a:xfrm>
        </p:spPr>
        <p:txBody>
          <a:bodyPr>
            <a:normAutofit/>
          </a:bodyPr>
          <a:lstStyle/>
          <a:p>
            <a:r>
              <a:rPr lang="en-US" sz="2000" b="0">
                <a:solidFill>
                  <a:schemeClr val="tx1"/>
                </a:solidFill>
              </a:rPr>
              <a:t>Scrape Craigslist’s Best featured and non-features posts</a:t>
            </a:r>
          </a:p>
        </p:txBody>
      </p:sp>
      <p:sp>
        <p:nvSpPr>
          <p:cNvPr id="23" name="Content Placeholder 22">
            <a:extLst>
              <a:ext uri="{FF2B5EF4-FFF2-40B4-BE49-F238E27FC236}">
                <a16:creationId xmlns:a16="http://schemas.microsoft.com/office/drawing/2014/main" id="{493682FE-6899-FF43-95B7-657C6B6427FB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2612800" y="1450365"/>
            <a:ext cx="2700338" cy="1232104"/>
          </a:xfrm>
        </p:spPr>
        <p:txBody>
          <a:bodyPr>
            <a:normAutofit/>
          </a:bodyPr>
          <a:lstStyle/>
          <a:p>
            <a:r>
              <a:rPr lang="en-US" sz="2000" b="0" dirty="0">
                <a:solidFill>
                  <a:schemeClr val="tx1"/>
                </a:solidFill>
              </a:rPr>
              <a:t>Tokenize, Lemmatize, Stop- words removal and </a:t>
            </a:r>
            <a:r>
              <a:rPr lang="en-US" sz="2000" b="0" dirty="0" err="1">
                <a:solidFill>
                  <a:schemeClr val="tx1"/>
                </a:solidFill>
              </a:rPr>
              <a:t>Tf</a:t>
            </a:r>
            <a:r>
              <a:rPr lang="en-US" sz="2000" b="0" dirty="0">
                <a:solidFill>
                  <a:schemeClr val="tx1"/>
                </a:solidFill>
              </a:rPr>
              <a:t>-IDF vectorize</a:t>
            </a:r>
          </a:p>
        </p:txBody>
      </p:sp>
      <p:sp>
        <p:nvSpPr>
          <p:cNvPr id="24" name="Content Placeholder 23">
            <a:extLst>
              <a:ext uri="{FF2B5EF4-FFF2-40B4-BE49-F238E27FC236}">
                <a16:creationId xmlns:a16="http://schemas.microsoft.com/office/drawing/2014/main" id="{0DACE07F-6244-2B4D-8A9B-771CC068D471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499173" y="1401103"/>
            <a:ext cx="3251219" cy="1190625"/>
          </a:xfrm>
        </p:spPr>
        <p:txBody>
          <a:bodyPr>
            <a:normAutofit/>
          </a:bodyPr>
          <a:lstStyle/>
          <a:p>
            <a:r>
              <a:rPr lang="en-US" sz="2000" b="0" dirty="0">
                <a:solidFill>
                  <a:schemeClr val="tx1"/>
                </a:solidFill>
              </a:rPr>
              <a:t>Test various models</a:t>
            </a:r>
          </a:p>
        </p:txBody>
      </p:sp>
      <p:sp>
        <p:nvSpPr>
          <p:cNvPr id="25" name="Content Placeholder 24">
            <a:extLst>
              <a:ext uri="{FF2B5EF4-FFF2-40B4-BE49-F238E27FC236}">
                <a16:creationId xmlns:a16="http://schemas.microsoft.com/office/drawing/2014/main" id="{3920DCCA-3151-3147-B04A-DEF13B632EF3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432026" y="5562668"/>
            <a:ext cx="3880207" cy="795771"/>
          </a:xfrm>
        </p:spPr>
        <p:txBody>
          <a:bodyPr>
            <a:normAutofit/>
          </a:bodyPr>
          <a:lstStyle/>
          <a:p>
            <a:r>
              <a:rPr lang="en-US" sz="2000" b="0" dirty="0">
                <a:solidFill>
                  <a:schemeClr val="tx1"/>
                </a:solidFill>
              </a:rPr>
              <a:t>Cross-validation is done</a:t>
            </a:r>
          </a:p>
        </p:txBody>
      </p:sp>
      <p:sp>
        <p:nvSpPr>
          <p:cNvPr id="26" name="Content Placeholder 25">
            <a:extLst>
              <a:ext uri="{FF2B5EF4-FFF2-40B4-BE49-F238E27FC236}">
                <a16:creationId xmlns:a16="http://schemas.microsoft.com/office/drawing/2014/main" id="{405B99D8-A9CA-CB42-8089-5A6C9C848782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9029211" y="5613468"/>
            <a:ext cx="2700338" cy="963852"/>
          </a:xfrm>
        </p:spPr>
        <p:txBody>
          <a:bodyPr>
            <a:normAutofit/>
          </a:bodyPr>
          <a:lstStyle/>
          <a:p>
            <a:r>
              <a:rPr lang="en-US" sz="2000" b="0" dirty="0">
                <a:solidFill>
                  <a:schemeClr val="tx1"/>
                </a:solidFill>
              </a:rPr>
              <a:t>Model is finalized based on cross-validation set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0DC27924-8819-480D-A09F-6E2234846246}"/>
              </a:ext>
            </a:extLst>
          </p:cNvPr>
          <p:cNvSpPr/>
          <p:nvPr/>
        </p:nvSpPr>
        <p:spPr>
          <a:xfrm>
            <a:off x="0" y="293170"/>
            <a:ext cx="1757680" cy="741204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66558C92-42B4-4E1B-9565-A952D88F8440}"/>
              </a:ext>
            </a:extLst>
          </p:cNvPr>
          <p:cNvSpPr/>
          <p:nvPr/>
        </p:nvSpPr>
        <p:spPr>
          <a:xfrm>
            <a:off x="8575041" y="293170"/>
            <a:ext cx="3616959" cy="741204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A4C91511-C99A-43C8-8C90-AADAACF14290}"/>
              </a:ext>
            </a:extLst>
          </p:cNvPr>
          <p:cNvSpPr/>
          <p:nvPr/>
        </p:nvSpPr>
        <p:spPr>
          <a:xfrm>
            <a:off x="1757681" y="293170"/>
            <a:ext cx="6817360" cy="74120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dirty="0">
                <a:solidFill>
                  <a:schemeClr val="tx1"/>
                </a:solidFill>
              </a:rPr>
              <a:t>Analysis: Flowchart</a:t>
            </a:r>
          </a:p>
        </p:txBody>
      </p:sp>
      <p:pic>
        <p:nvPicPr>
          <p:cNvPr id="1026" name="Picture 2" descr="Image result for data scraping icon">
            <a:extLst>
              <a:ext uri="{FF2B5EF4-FFF2-40B4-BE49-F238E27FC236}">
                <a16:creationId xmlns:a16="http://schemas.microsoft.com/office/drawing/2014/main" id="{0E6309DB-F956-4FF7-AFF1-7E0D079221F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clrChange>
              <a:clrFrom>
                <a:srgbClr val="000000">
                  <a:alpha val="0"/>
                </a:srgbClr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8187" y="3287768"/>
            <a:ext cx="1103488" cy="11034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Image result for data cleaning icon">
            <a:extLst>
              <a:ext uri="{FF2B5EF4-FFF2-40B4-BE49-F238E27FC236}">
                <a16:creationId xmlns:a16="http://schemas.microsoft.com/office/drawing/2014/main" id="{074E7A05-B6E0-42EF-B796-E4CBDFBF9FE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9379"/>
          <a:stretch/>
        </p:blipFill>
        <p:spPr bwMode="auto">
          <a:xfrm>
            <a:off x="3308092" y="3352844"/>
            <a:ext cx="1052569" cy="10289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Image result for data split icon">
            <a:extLst>
              <a:ext uri="{FF2B5EF4-FFF2-40B4-BE49-F238E27FC236}">
                <a16:creationId xmlns:a16="http://schemas.microsoft.com/office/drawing/2014/main" id="{65E57F9E-0C8A-4625-A74C-97C9BF4D71A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39874" y="3315743"/>
            <a:ext cx="927598" cy="9275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 descr="Image result for tuning icon">
            <a:extLst>
              <a:ext uri="{FF2B5EF4-FFF2-40B4-BE49-F238E27FC236}">
                <a16:creationId xmlns:a16="http://schemas.microsoft.com/office/drawing/2014/main" id="{F823609C-20BA-4039-A30F-EF3734E8699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94810" y="3480605"/>
            <a:ext cx="795771" cy="7957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4" name="Picture 10" descr="Image result for evaluation icon">
            <a:extLst>
              <a:ext uri="{FF2B5EF4-FFF2-40B4-BE49-F238E27FC236}">
                <a16:creationId xmlns:a16="http://schemas.microsoft.com/office/drawing/2014/main" id="{18E3820A-AC64-426C-990D-E32F5340206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56950" y="3409749"/>
            <a:ext cx="920651" cy="9206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9513228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" grpId="0" build="p"/>
      <p:bldP spid="23" grpId="0" build="p"/>
      <p:bldP spid="24" grpId="0" build="p"/>
      <p:bldP spid="25" grpId="0" build="p"/>
      <p:bldP spid="26" grpId="0" build="p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90E8FDF9-F7F4-4EC2-9450-0C6E5F8A7602}"/>
              </a:ext>
            </a:extLst>
          </p:cNvPr>
          <p:cNvSpPr/>
          <p:nvPr/>
        </p:nvSpPr>
        <p:spPr>
          <a:xfrm>
            <a:off x="153814" y="2627316"/>
            <a:ext cx="2047875" cy="916781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6B6B6B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/>
              </a:rPr>
              <a:t>Logistic Regression</a:t>
            </a:r>
            <a:endParaRPr kumimoji="0" lang="en-US" sz="2200" b="1" i="0" u="none" strike="noStrike" kern="1200" cap="none" spc="0" normalizeH="0" baseline="0" noProof="0" dirty="0">
              <a:ln>
                <a:noFill/>
              </a:ln>
              <a:solidFill>
                <a:srgbClr val="6B6B6B"/>
              </a:solidFill>
              <a:effectLst/>
              <a:uLnTx/>
              <a:uFillTx/>
              <a:latin typeface="Calibri" panose="020F0502020204030204"/>
              <a:ea typeface="+mn-ea"/>
            </a:endParaRPr>
          </a:p>
        </p:txBody>
      </p: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F5D73D57-1A96-457F-A700-A75893A164E7}"/>
              </a:ext>
            </a:extLst>
          </p:cNvPr>
          <p:cNvSpPr/>
          <p:nvPr/>
        </p:nvSpPr>
        <p:spPr>
          <a:xfrm>
            <a:off x="2606969" y="2770190"/>
            <a:ext cx="2044852" cy="631032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6B6B6B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/>
              </a:rPr>
              <a:t>Support Vector Machines</a:t>
            </a:r>
            <a:endParaRPr kumimoji="0" lang="en-US" sz="2200" b="1" i="0" u="none" strike="noStrike" kern="1200" cap="none" spc="0" normalizeH="0" baseline="0" noProof="0" dirty="0">
              <a:ln>
                <a:noFill/>
              </a:ln>
              <a:solidFill>
                <a:srgbClr val="6B6B6B"/>
              </a:solidFill>
              <a:effectLst/>
              <a:uLnTx/>
              <a:uFillTx/>
              <a:latin typeface="Calibri" panose="020F0502020204030204"/>
              <a:ea typeface="+mn-ea"/>
            </a:endParaRPr>
          </a:p>
        </p:txBody>
      </p: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5B8B1312-2DA1-41AC-AD15-2393BF71CD97}"/>
              </a:ext>
            </a:extLst>
          </p:cNvPr>
          <p:cNvSpPr/>
          <p:nvPr/>
        </p:nvSpPr>
        <p:spPr>
          <a:xfrm>
            <a:off x="4503232" y="2792523"/>
            <a:ext cx="3093562" cy="631032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1" i="0" u="none" strike="noStrike" kern="1200" cap="none" spc="0" normalizeH="0" baseline="0" noProof="0">
                <a:ln>
                  <a:noFill/>
                </a:ln>
                <a:solidFill>
                  <a:srgbClr val="6B6B6B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/>
              </a:rPr>
              <a:t>Random Forest Classifier</a:t>
            </a:r>
            <a:endParaRPr kumimoji="0" lang="en-US" sz="2200" b="1" i="0" u="none" strike="noStrike" kern="1200" cap="none" spc="0" normalizeH="0" baseline="0" noProof="0">
              <a:ln>
                <a:noFill/>
              </a:ln>
              <a:solidFill>
                <a:srgbClr val="6B6B6B"/>
              </a:solidFill>
              <a:effectLst/>
              <a:uLnTx/>
              <a:uFillTx/>
              <a:latin typeface="Calibri" panose="020F0502020204030204"/>
              <a:ea typeface="+mn-ea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8C61F604-EE8E-4E6D-84E4-58E5B56C7B54}"/>
              </a:ext>
            </a:extLst>
          </p:cNvPr>
          <p:cNvSpPr/>
          <p:nvPr/>
        </p:nvSpPr>
        <p:spPr>
          <a:xfrm>
            <a:off x="0" y="293170"/>
            <a:ext cx="1757680" cy="741204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43E4F1DC-CA77-4B2E-A2AC-80A845851DA4}"/>
              </a:ext>
            </a:extLst>
          </p:cNvPr>
          <p:cNvSpPr/>
          <p:nvPr/>
        </p:nvSpPr>
        <p:spPr>
          <a:xfrm>
            <a:off x="8575041" y="293170"/>
            <a:ext cx="3616959" cy="741204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5C371CC-3336-41A3-BB34-6E2A0C172BE3}"/>
              </a:ext>
            </a:extLst>
          </p:cNvPr>
          <p:cNvSpPr/>
          <p:nvPr/>
        </p:nvSpPr>
        <p:spPr>
          <a:xfrm>
            <a:off x="1757681" y="293170"/>
            <a:ext cx="6817360" cy="74120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 modeling techniques applied</a:t>
            </a: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D718F325-DB6B-412B-86C2-068F3B1BFF58}"/>
              </a:ext>
            </a:extLst>
          </p:cNvPr>
          <p:cNvSpPr/>
          <p:nvPr/>
        </p:nvSpPr>
        <p:spPr>
          <a:xfrm>
            <a:off x="6873135" y="2770190"/>
            <a:ext cx="3093562" cy="631032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1" i="0" u="none" strike="noStrike" kern="1200" cap="none" spc="0" normalizeH="0" baseline="0" noProof="0">
                <a:ln>
                  <a:noFill/>
                </a:ln>
                <a:solidFill>
                  <a:srgbClr val="6B6B6B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/>
              </a:rPr>
              <a:t>KNN Classifier</a:t>
            </a:r>
            <a:endParaRPr kumimoji="0" lang="en-US" sz="2200" b="1" i="0" u="none" strike="noStrike" kern="1200" cap="none" spc="0" normalizeH="0" baseline="0" noProof="0">
              <a:ln>
                <a:noFill/>
              </a:ln>
              <a:solidFill>
                <a:srgbClr val="6B6B6B"/>
              </a:solidFill>
              <a:effectLst/>
              <a:uLnTx/>
              <a:uFillTx/>
              <a:latin typeface="Calibri" panose="020F0502020204030204"/>
              <a:ea typeface="+mn-ea"/>
            </a:endParaRP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500C6AC9-669C-406A-9017-2522502E0D0D}"/>
              </a:ext>
            </a:extLst>
          </p:cNvPr>
          <p:cNvSpPr/>
          <p:nvPr/>
        </p:nvSpPr>
        <p:spPr>
          <a:xfrm>
            <a:off x="9382151" y="2770190"/>
            <a:ext cx="3093562" cy="631032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1" i="0" u="none" strike="noStrike" kern="1200" cap="none" spc="0" normalizeH="0" baseline="0" noProof="0">
                <a:ln>
                  <a:noFill/>
                </a:ln>
                <a:solidFill>
                  <a:srgbClr val="6B6B6B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/>
              </a:rPr>
              <a:t>Naïve Bayes</a:t>
            </a:r>
            <a:endParaRPr kumimoji="0" lang="en-US" sz="2200" b="1" i="0" u="none" strike="noStrike" kern="1200" cap="none" spc="0" normalizeH="0" baseline="0" noProof="0">
              <a:ln>
                <a:noFill/>
              </a:ln>
              <a:solidFill>
                <a:srgbClr val="6B6B6B"/>
              </a:solidFill>
              <a:effectLst/>
              <a:uLnTx/>
              <a:uFillTx/>
              <a:latin typeface="Calibri" panose="020F0502020204030204"/>
              <a:ea typeface="+mn-ea"/>
            </a:endParaRP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2CBC7D2F-8922-458C-A74D-CCB7F4475659}"/>
              </a:ext>
            </a:extLst>
          </p:cNvPr>
          <p:cNvSpPr/>
          <p:nvPr/>
        </p:nvSpPr>
        <p:spPr>
          <a:xfrm>
            <a:off x="153814" y="5293775"/>
            <a:ext cx="2047875" cy="916781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1" i="0" u="none" strike="noStrike" kern="1200" cap="none" spc="0" normalizeH="0" baseline="0" noProof="0">
                <a:ln>
                  <a:noFill/>
                </a:ln>
                <a:solidFill>
                  <a:srgbClr val="6B6B6B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/>
              </a:rPr>
              <a:t>Decision Tree Classifier</a:t>
            </a:r>
            <a:endParaRPr kumimoji="0" lang="en-US" sz="2200" b="1" i="0" u="none" strike="noStrike" kern="1200" cap="none" spc="0" normalizeH="0" baseline="0" noProof="0">
              <a:ln>
                <a:noFill/>
              </a:ln>
              <a:solidFill>
                <a:srgbClr val="6B6B6B"/>
              </a:solidFill>
              <a:effectLst/>
              <a:uLnTx/>
              <a:uFillTx/>
              <a:latin typeface="Calibri" panose="020F0502020204030204"/>
              <a:ea typeface="+mn-ea"/>
            </a:endParaRP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63E6E91B-4B34-4092-ABC0-0BE416D2362B}"/>
              </a:ext>
            </a:extLst>
          </p:cNvPr>
          <p:cNvSpPr/>
          <p:nvPr/>
        </p:nvSpPr>
        <p:spPr>
          <a:xfrm>
            <a:off x="2201689" y="5258562"/>
            <a:ext cx="2728437" cy="985306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200" b="1">
                <a:solidFill>
                  <a:srgbClr val="6B6B6B"/>
                </a:solidFill>
                <a:latin typeface="Calibri" panose="020F0502020204030204"/>
                <a:cs typeface="Calibri"/>
              </a:rPr>
              <a:t>Gradient Boosting Classifier</a:t>
            </a:r>
            <a:endParaRPr kumimoji="0" lang="en-US" sz="2200" b="1" i="0" u="none" strike="noStrike" kern="1200" cap="none" spc="0" normalizeH="0" baseline="0" noProof="0">
              <a:ln>
                <a:noFill/>
              </a:ln>
              <a:solidFill>
                <a:srgbClr val="6B6B6B"/>
              </a:solidFill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D2926614-ABA4-44F6-A75E-5046FE20A83E}"/>
              </a:ext>
            </a:extLst>
          </p:cNvPr>
          <p:cNvSpPr/>
          <p:nvPr/>
        </p:nvSpPr>
        <p:spPr>
          <a:xfrm>
            <a:off x="4992010" y="5458982"/>
            <a:ext cx="2221314" cy="631032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1" i="0" u="none" strike="noStrike" kern="1200" cap="none" spc="0" normalizeH="0" baseline="0" noProof="0" err="1">
                <a:ln>
                  <a:noFill/>
                </a:ln>
                <a:solidFill>
                  <a:srgbClr val="6B6B6B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/>
              </a:rPr>
              <a:t>Adaboost</a:t>
            </a:r>
            <a:r>
              <a:rPr kumimoji="0" lang="en-US" sz="2200" b="1" i="0" u="none" strike="noStrike" kern="1200" cap="none" spc="0" normalizeH="0" baseline="0" noProof="0">
                <a:ln>
                  <a:noFill/>
                </a:ln>
                <a:solidFill>
                  <a:srgbClr val="6B6B6B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/>
              </a:rPr>
              <a:t> Classifier</a:t>
            </a:r>
            <a:endParaRPr kumimoji="0" lang="en-US" sz="2200" b="1" i="0" u="none" strike="noStrike" kern="1200" cap="none" spc="0" normalizeH="0" baseline="0" noProof="0">
              <a:ln>
                <a:noFill/>
              </a:ln>
              <a:solidFill>
                <a:srgbClr val="6B6B6B"/>
              </a:solidFill>
              <a:effectLst/>
              <a:uLnTx/>
              <a:uFillTx/>
              <a:latin typeface="Calibri" panose="020F0502020204030204"/>
              <a:ea typeface="+mn-ea"/>
            </a:endParaRP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ECA3AB0C-C00B-43B5-9CA3-8C98F7EE0652}"/>
              </a:ext>
            </a:extLst>
          </p:cNvPr>
          <p:cNvSpPr/>
          <p:nvPr/>
        </p:nvSpPr>
        <p:spPr>
          <a:xfrm>
            <a:off x="7270371" y="5436649"/>
            <a:ext cx="2372387" cy="631032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6B6B6B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/>
              </a:rPr>
              <a:t>Deep Neural Network </a:t>
            </a:r>
            <a:endParaRPr kumimoji="0" lang="en-US" sz="2200" b="1" i="0" u="none" strike="noStrike" kern="1200" cap="none" spc="0" normalizeH="0" baseline="0" noProof="0" dirty="0">
              <a:ln>
                <a:noFill/>
              </a:ln>
              <a:solidFill>
                <a:srgbClr val="6B6B6B"/>
              </a:solidFill>
              <a:effectLst/>
              <a:uLnTx/>
              <a:uFillTx/>
              <a:latin typeface="Calibri" panose="020F0502020204030204"/>
              <a:ea typeface="+mn-ea"/>
            </a:endParaRPr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F1A836A5-1532-4ED4-91D6-7329705034BD}"/>
              </a:ext>
            </a:extLst>
          </p:cNvPr>
          <p:cNvSpPr/>
          <p:nvPr/>
        </p:nvSpPr>
        <p:spPr>
          <a:xfrm>
            <a:off x="9382151" y="5436649"/>
            <a:ext cx="2656035" cy="631032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200" b="1" dirty="0">
                <a:solidFill>
                  <a:srgbClr val="6B6B6B"/>
                </a:solidFill>
                <a:latin typeface="Calibri" panose="020F0502020204030204"/>
              </a:rPr>
              <a:t>LSTM</a:t>
            </a:r>
            <a:endParaRPr kumimoji="0" lang="en-US" sz="2200" b="1" i="0" u="none" strike="noStrike" kern="1200" cap="none" spc="0" normalizeH="0" baseline="0" noProof="0" dirty="0">
              <a:ln>
                <a:noFill/>
              </a:ln>
              <a:solidFill>
                <a:srgbClr val="6B6B6B"/>
              </a:solidFill>
              <a:effectLst/>
              <a:uLnTx/>
              <a:uFillTx/>
              <a:latin typeface="Calibri" panose="020F0502020204030204"/>
            </a:endParaRPr>
          </a:p>
        </p:txBody>
      </p:sp>
      <p:pic>
        <p:nvPicPr>
          <p:cNvPr id="51" name="Picture 50" descr="A picture containing black, indoor, sitting, top&#10;&#10;Description automatically generated">
            <a:extLst>
              <a:ext uri="{FF2B5EF4-FFF2-40B4-BE49-F238E27FC236}">
                <a16:creationId xmlns:a16="http://schemas.microsoft.com/office/drawing/2014/main" id="{E005EC35-AAB9-42AC-8EF7-702DDB247AC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3800" b="95855" l="7005" r="91896">
                        <a14:foregroundMark x1="12225" y1="29879" x2="12225" y2="29879"/>
                        <a14:foregroundMark x1="50275" y1="13299" x2="50275" y2="13299"/>
                        <a14:foregroundMark x1="86951" y1="51295" x2="86951" y2="51295"/>
                        <a14:foregroundMark x1="45742" y1="31952" x2="45742" y2="31952"/>
                        <a14:foregroundMark x1="48626" y1="39724" x2="50687" y2="39724"/>
                        <a14:foregroundMark x1="50275" y1="11917" x2="50275" y2="4145"/>
                        <a14:foregroundMark x1="7692" y1="31088" x2="13599" y2="30570"/>
                        <a14:foregroundMark x1="13187" y1="74611" x2="13187" y2="67703"/>
                        <a14:foregroundMark x1="50687" y1="95855" x2="49863" y2="88428"/>
                        <a14:foregroundMark x1="90522" y1="51295" x2="91896" y2="43523"/>
                        <a14:foregroundMark x1="7005" y1="73402" x2="7418" y2="69430"/>
                        <a14:foregroundMark x1="11813" y1="30570" x2="15659" y2="30570"/>
                        <a14:foregroundMark x1="50687" y1="37133" x2="51786" y2="38860"/>
                        <a14:foregroundMark x1="49863" y1="38342" x2="49863" y2="31434"/>
                        <a14:foregroundMark x1="51374" y1="65630" x2="49863" y2="59067"/>
                        <a14:foregroundMark x1="50275" y1="95337" x2="46841" y2="89637"/>
                        <a14:foregroundMark x1="88049" y1="53886" x2="83929" y2="45596"/>
                        <a14:foregroundMark x1="83929" y1="45596" x2="84341" y2="43523"/>
                        <a14:foregroundMark x1="21841" y1="23316" x2="28709" y2="18480"/>
                        <a14:backgroundMark x1="56456" y1="24180" x2="65110" y2="32470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0155258" y="4326776"/>
            <a:ext cx="1215846" cy="966999"/>
          </a:xfrm>
          <a:prstGeom prst="rect">
            <a:avLst/>
          </a:prstGeom>
        </p:spPr>
      </p:pic>
      <p:sp>
        <p:nvSpPr>
          <p:cNvPr id="70" name="Rectangle 69">
            <a:extLst>
              <a:ext uri="{FF2B5EF4-FFF2-40B4-BE49-F238E27FC236}">
                <a16:creationId xmlns:a16="http://schemas.microsoft.com/office/drawing/2014/main" id="{D6EA8E35-0775-4BF2-9262-AE865910CE70}"/>
              </a:ext>
            </a:extLst>
          </p:cNvPr>
          <p:cNvSpPr/>
          <p:nvPr/>
        </p:nvSpPr>
        <p:spPr>
          <a:xfrm>
            <a:off x="5499233" y="6494497"/>
            <a:ext cx="6347155" cy="15118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800" i="1">
                <a:solidFill>
                  <a:srgbClr val="000000"/>
                </a:solidFill>
                <a:cs typeface="Calibri"/>
              </a:rPr>
              <a:t>										      These are post optimization results</a:t>
            </a:r>
            <a:endParaRPr lang="en-US" sz="800" i="1">
              <a:solidFill>
                <a:srgbClr val="000000"/>
              </a:solidFill>
            </a:endParaRPr>
          </a:p>
        </p:txBody>
      </p:sp>
      <p:pic>
        <p:nvPicPr>
          <p:cNvPr id="71" name="Picture 12" descr="Image result for naive bayes icon">
            <a:extLst>
              <a:ext uri="{FF2B5EF4-FFF2-40B4-BE49-F238E27FC236}">
                <a16:creationId xmlns:a16="http://schemas.microsoft.com/office/drawing/2014/main" id="{BBCBD34A-0F9A-450B-9B43-8DDB2931681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71932" y="4324511"/>
            <a:ext cx="969264" cy="9692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Graphic 23" descr="Network">
            <a:extLst>
              <a:ext uri="{FF2B5EF4-FFF2-40B4-BE49-F238E27FC236}">
                <a16:creationId xmlns:a16="http://schemas.microsoft.com/office/drawing/2014/main" id="{DEDF13D0-BCE8-4E95-8CF5-1AEEAE0DC22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645467" y="4351943"/>
            <a:ext cx="914400" cy="914400"/>
          </a:xfrm>
          <a:prstGeom prst="rect">
            <a:avLst/>
          </a:prstGeom>
        </p:spPr>
      </p:pic>
      <p:pic>
        <p:nvPicPr>
          <p:cNvPr id="43" name="Picture 42" descr="A close up of a logo&#10;&#10;Description automatically generated">
            <a:extLst>
              <a:ext uri="{FF2B5EF4-FFF2-40B4-BE49-F238E27FC236}">
                <a16:creationId xmlns:a16="http://schemas.microsoft.com/office/drawing/2014/main" id="{FF96EE74-381D-48EB-AE87-FD5102330CE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93119" y="1777381"/>
            <a:ext cx="969264" cy="969264"/>
          </a:xfrm>
          <a:prstGeom prst="rect">
            <a:avLst/>
          </a:prstGeom>
        </p:spPr>
      </p:pic>
      <p:pic>
        <p:nvPicPr>
          <p:cNvPr id="72" name="Picture 71">
            <a:extLst>
              <a:ext uri="{FF2B5EF4-FFF2-40B4-BE49-F238E27FC236}">
                <a16:creationId xmlns:a16="http://schemas.microsoft.com/office/drawing/2014/main" id="{9238F49B-9B00-4109-B561-C6F71606C8D6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clrChange>
              <a:clrFrom>
                <a:srgbClr val="F8FFF8"/>
              </a:clrFrom>
              <a:clrTo>
                <a:srgbClr val="F8FFF8">
                  <a:alpha val="0"/>
                </a:srgbClr>
              </a:clrTo>
            </a:clrChange>
            <a:biLevel thresh="75000"/>
          </a:blip>
          <a:srcRect r="26971" b="22358"/>
          <a:stretch/>
        </p:blipFill>
        <p:spPr>
          <a:xfrm>
            <a:off x="2796873" y="4463811"/>
            <a:ext cx="1491820" cy="741204"/>
          </a:xfrm>
          <a:prstGeom prst="rect">
            <a:avLst/>
          </a:prstGeom>
        </p:spPr>
      </p:pic>
      <p:pic>
        <p:nvPicPr>
          <p:cNvPr id="74" name="Picture 73" descr="A close up of a logo&#10;&#10;Description automatically generated">
            <a:extLst>
              <a:ext uri="{FF2B5EF4-FFF2-40B4-BE49-F238E27FC236}">
                <a16:creationId xmlns:a16="http://schemas.microsoft.com/office/drawing/2014/main" id="{B6A03472-CBF8-4006-80F6-D27DE49B2688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252339" y="1849721"/>
            <a:ext cx="714543" cy="714543"/>
          </a:xfrm>
          <a:prstGeom prst="rect">
            <a:avLst/>
          </a:prstGeom>
        </p:spPr>
      </p:pic>
      <p:pic>
        <p:nvPicPr>
          <p:cNvPr id="76" name="Picture 75">
            <a:extLst>
              <a:ext uri="{FF2B5EF4-FFF2-40B4-BE49-F238E27FC236}">
                <a16:creationId xmlns:a16="http://schemas.microsoft.com/office/drawing/2014/main" id="{BFF39CCD-DD32-46E0-96E9-E87A53F0016A}"/>
              </a:ext>
            </a:extLst>
          </p:cNvPr>
          <p:cNvPicPr>
            <a:picLocks noChangeAspect="1"/>
          </p:cNvPicPr>
          <p:nvPr/>
        </p:nvPicPr>
        <p:blipFill>
          <a:blip r:embed="rId10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5604990" y="1777381"/>
            <a:ext cx="890046" cy="890046"/>
          </a:xfrm>
          <a:prstGeom prst="rect">
            <a:avLst/>
          </a:prstGeom>
        </p:spPr>
      </p:pic>
      <p:pic>
        <p:nvPicPr>
          <p:cNvPr id="78" name="Picture 77" descr="A picture containing pencil&#10;&#10;Description automatically generated">
            <a:extLst>
              <a:ext uri="{FF2B5EF4-FFF2-40B4-BE49-F238E27FC236}">
                <a16:creationId xmlns:a16="http://schemas.microsoft.com/office/drawing/2014/main" id="{5C6128CC-15E5-4C3E-A222-6FD1BBC2ED2F}"/>
              </a:ext>
            </a:extLst>
          </p:cNvPr>
          <p:cNvPicPr>
            <a:picLocks noChangeAspect="1"/>
          </p:cNvPicPr>
          <p:nvPr/>
        </p:nvPicPr>
        <p:blipFill>
          <a:blip r:embed="rId11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prstClr val="black"/>
              <a:schemeClr val="tx1">
                <a:lumMod val="95000"/>
                <a:lumOff val="5000"/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7918776" y="1777381"/>
            <a:ext cx="1162789" cy="969264"/>
          </a:xfrm>
          <a:prstGeom prst="rect">
            <a:avLst/>
          </a:prstGeom>
        </p:spPr>
      </p:pic>
      <p:pic>
        <p:nvPicPr>
          <p:cNvPr id="80" name="Picture 79">
            <a:extLst>
              <a:ext uri="{FF2B5EF4-FFF2-40B4-BE49-F238E27FC236}">
                <a16:creationId xmlns:a16="http://schemas.microsoft.com/office/drawing/2014/main" id="{1EC0623C-2FB1-4D9C-A692-7C9286D397C9}"/>
              </a:ext>
            </a:extLst>
          </p:cNvPr>
          <p:cNvPicPr>
            <a:picLocks noChangeAspect="1"/>
          </p:cNvPicPr>
          <p:nvPr/>
        </p:nvPicPr>
        <p:blipFill>
          <a:blip r:embed="rId1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0444300" y="1835041"/>
            <a:ext cx="969264" cy="969264"/>
          </a:xfrm>
          <a:prstGeom prst="rect">
            <a:avLst/>
          </a:prstGeom>
        </p:spPr>
      </p:pic>
      <p:pic>
        <p:nvPicPr>
          <p:cNvPr id="82" name="Picture 81" descr="A picture containing sky&#10;&#10;Description automatically generated">
            <a:extLst>
              <a:ext uri="{FF2B5EF4-FFF2-40B4-BE49-F238E27FC236}">
                <a16:creationId xmlns:a16="http://schemas.microsoft.com/office/drawing/2014/main" id="{01C26884-4E8B-4832-A2B3-7706AE1C45E5}"/>
              </a:ext>
            </a:extLst>
          </p:cNvPr>
          <p:cNvPicPr>
            <a:picLocks noChangeAspect="1"/>
          </p:cNvPicPr>
          <p:nvPr/>
        </p:nvPicPr>
        <p:blipFill>
          <a:blip r:embed="rId1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538925" y="4275258"/>
            <a:ext cx="1353879" cy="1067769"/>
          </a:xfrm>
          <a:prstGeom prst="rect">
            <a:avLst/>
          </a:prstGeom>
        </p:spPr>
      </p:pic>
      <p:grpSp>
        <p:nvGrpSpPr>
          <p:cNvPr id="83" name="Group 82">
            <a:extLst>
              <a:ext uri="{FF2B5EF4-FFF2-40B4-BE49-F238E27FC236}">
                <a16:creationId xmlns:a16="http://schemas.microsoft.com/office/drawing/2014/main" id="{340F3993-7F5E-4583-8041-C759D1E96E04}"/>
              </a:ext>
            </a:extLst>
          </p:cNvPr>
          <p:cNvGrpSpPr/>
          <p:nvPr/>
        </p:nvGrpSpPr>
        <p:grpSpPr>
          <a:xfrm>
            <a:off x="171011" y="1767763"/>
            <a:ext cx="2177206" cy="1925338"/>
            <a:chOff x="945032" y="2305429"/>
            <a:chExt cx="2177206" cy="1925338"/>
          </a:xfrm>
        </p:grpSpPr>
        <p:sp>
          <p:nvSpPr>
            <p:cNvPr id="84" name="Rectangle: Rounded Corners 83">
              <a:extLst>
                <a:ext uri="{FF2B5EF4-FFF2-40B4-BE49-F238E27FC236}">
                  <a16:creationId xmlns:a16="http://schemas.microsoft.com/office/drawing/2014/main" id="{7ED3C627-B138-4B8E-90D1-7AC859F140F3}"/>
                </a:ext>
              </a:extLst>
            </p:cNvPr>
            <p:cNvSpPr/>
            <p:nvPr/>
          </p:nvSpPr>
          <p:spPr>
            <a:xfrm>
              <a:off x="945032" y="2305429"/>
              <a:ext cx="2177206" cy="1925338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 w="28575">
              <a:solidFill>
                <a:srgbClr val="3E4D6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rgbClr val="6B6B6B"/>
                  </a:solidFill>
                </a:rPr>
                <a:t>AUC: 89.3%</a:t>
              </a:r>
            </a:p>
          </p:txBody>
        </p:sp>
        <p:pic>
          <p:nvPicPr>
            <p:cNvPr id="85" name="Picture 4">
              <a:extLst>
                <a:ext uri="{FF2B5EF4-FFF2-40B4-BE49-F238E27FC236}">
                  <a16:creationId xmlns:a16="http://schemas.microsoft.com/office/drawing/2014/main" id="{876DB89A-E798-45EB-B091-7F798E2A5C0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4"/>
            <a:stretch>
              <a:fillRect/>
            </a:stretch>
          </p:blipFill>
          <p:spPr bwMode="auto">
            <a:xfrm>
              <a:off x="1009989" y="2373648"/>
              <a:ext cx="506504" cy="50650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86" name="Group 85">
            <a:extLst>
              <a:ext uri="{FF2B5EF4-FFF2-40B4-BE49-F238E27FC236}">
                <a16:creationId xmlns:a16="http://schemas.microsoft.com/office/drawing/2014/main" id="{7E68A4C3-F031-4262-9868-3A0FEB4D5BEE}"/>
              </a:ext>
            </a:extLst>
          </p:cNvPr>
          <p:cNvGrpSpPr/>
          <p:nvPr/>
        </p:nvGrpSpPr>
        <p:grpSpPr>
          <a:xfrm>
            <a:off x="2511964" y="1775041"/>
            <a:ext cx="2177206" cy="1925338"/>
            <a:chOff x="2511964" y="1775041"/>
            <a:chExt cx="2177206" cy="1925338"/>
          </a:xfrm>
        </p:grpSpPr>
        <p:sp>
          <p:nvSpPr>
            <p:cNvPr id="87" name="Rectangle: Rounded Corners 86">
              <a:extLst>
                <a:ext uri="{FF2B5EF4-FFF2-40B4-BE49-F238E27FC236}">
                  <a16:creationId xmlns:a16="http://schemas.microsoft.com/office/drawing/2014/main" id="{02324B2B-21C4-4198-B063-716FB0DE10C2}"/>
                </a:ext>
              </a:extLst>
            </p:cNvPr>
            <p:cNvSpPr/>
            <p:nvPr/>
          </p:nvSpPr>
          <p:spPr>
            <a:xfrm>
              <a:off x="2511964" y="1775041"/>
              <a:ext cx="2177206" cy="1925338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 w="28575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rgbClr val="6B6B6B"/>
                  </a:solidFill>
                </a:rPr>
                <a:t>AUC: 87.8%</a:t>
              </a:r>
            </a:p>
          </p:txBody>
        </p:sp>
        <p:pic>
          <p:nvPicPr>
            <p:cNvPr id="88" name="Picture 6" descr="Image result for support vector machine icon">
              <a:extLst>
                <a:ext uri="{FF2B5EF4-FFF2-40B4-BE49-F238E27FC236}">
                  <a16:creationId xmlns:a16="http://schemas.microsoft.com/office/drawing/2014/main" id="{D66B1852-FB07-4098-85C2-04F7465E6C2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>
              <a:biLevel thresh="7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649498" y="1892712"/>
              <a:ext cx="460008" cy="46000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89" name="Group 88">
            <a:extLst>
              <a:ext uri="{FF2B5EF4-FFF2-40B4-BE49-F238E27FC236}">
                <a16:creationId xmlns:a16="http://schemas.microsoft.com/office/drawing/2014/main" id="{333B311F-E22C-4057-B8F2-660F9CFF3EE1}"/>
              </a:ext>
            </a:extLst>
          </p:cNvPr>
          <p:cNvGrpSpPr/>
          <p:nvPr/>
        </p:nvGrpSpPr>
        <p:grpSpPr>
          <a:xfrm>
            <a:off x="4950133" y="1738297"/>
            <a:ext cx="2190630" cy="1925338"/>
            <a:chOff x="4950133" y="1738297"/>
            <a:chExt cx="2190630" cy="1925338"/>
          </a:xfrm>
        </p:grpSpPr>
        <p:sp>
          <p:nvSpPr>
            <p:cNvPr id="90" name="Rectangle: Rounded Corners 89">
              <a:extLst>
                <a:ext uri="{FF2B5EF4-FFF2-40B4-BE49-F238E27FC236}">
                  <a16:creationId xmlns:a16="http://schemas.microsoft.com/office/drawing/2014/main" id="{056CC5AC-1D4B-44DB-BC52-589A82169037}"/>
                </a:ext>
              </a:extLst>
            </p:cNvPr>
            <p:cNvSpPr/>
            <p:nvPr/>
          </p:nvSpPr>
          <p:spPr>
            <a:xfrm>
              <a:off x="4963557" y="1738297"/>
              <a:ext cx="2177206" cy="1925338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 w="28575">
              <a:solidFill>
                <a:srgbClr val="3E4D6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rgbClr val="6B6B6B"/>
                  </a:solidFill>
                </a:rPr>
                <a:t>AUC: 89.0%</a:t>
              </a:r>
            </a:p>
          </p:txBody>
        </p:sp>
        <p:pic>
          <p:nvPicPr>
            <p:cNvPr id="91" name="Picture 8">
              <a:extLst>
                <a:ext uri="{FF2B5EF4-FFF2-40B4-BE49-F238E27FC236}">
                  <a16:creationId xmlns:a16="http://schemas.microsoft.com/office/drawing/2014/main" id="{7D1BD2C2-DE59-412B-B172-214898FB29B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5"/>
            <a:stretch>
              <a:fillRect/>
            </a:stretch>
          </p:blipFill>
          <p:spPr bwMode="auto">
            <a:xfrm>
              <a:off x="4950133" y="1740365"/>
              <a:ext cx="637847" cy="63784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92" name="Group 91">
            <a:extLst>
              <a:ext uri="{FF2B5EF4-FFF2-40B4-BE49-F238E27FC236}">
                <a16:creationId xmlns:a16="http://schemas.microsoft.com/office/drawing/2014/main" id="{A00FDBBA-CCBE-447A-A546-B5580366E4FB}"/>
              </a:ext>
            </a:extLst>
          </p:cNvPr>
          <p:cNvGrpSpPr/>
          <p:nvPr/>
        </p:nvGrpSpPr>
        <p:grpSpPr>
          <a:xfrm>
            <a:off x="7316249" y="4154869"/>
            <a:ext cx="2177206" cy="1925338"/>
            <a:chOff x="7310970" y="4070708"/>
            <a:chExt cx="2177206" cy="1925338"/>
          </a:xfrm>
        </p:grpSpPr>
        <p:sp>
          <p:nvSpPr>
            <p:cNvPr id="93" name="Rectangle: Rounded Corners 92">
              <a:extLst>
                <a:ext uri="{FF2B5EF4-FFF2-40B4-BE49-F238E27FC236}">
                  <a16:creationId xmlns:a16="http://schemas.microsoft.com/office/drawing/2014/main" id="{4BD0239F-8467-4C5B-85F0-AAEBA825ED33}"/>
                </a:ext>
              </a:extLst>
            </p:cNvPr>
            <p:cNvSpPr/>
            <p:nvPr/>
          </p:nvSpPr>
          <p:spPr>
            <a:xfrm>
              <a:off x="7310970" y="4070708"/>
              <a:ext cx="2177206" cy="1925338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 w="28575">
              <a:solidFill>
                <a:srgbClr val="3E4D6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rgbClr val="6B6B6B"/>
                  </a:solidFill>
                </a:rPr>
                <a:t>AUC: 90.3%</a:t>
              </a:r>
            </a:p>
          </p:txBody>
        </p:sp>
        <p:pic>
          <p:nvPicPr>
            <p:cNvPr id="94" name="Picture 12" descr="Image result for naive bayes icon">
              <a:extLst>
                <a:ext uri="{FF2B5EF4-FFF2-40B4-BE49-F238E27FC236}">
                  <a16:creationId xmlns:a16="http://schemas.microsoft.com/office/drawing/2014/main" id="{12E364FF-081C-467D-B46A-8DD7BD58CEA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59417" y="4136317"/>
              <a:ext cx="454321" cy="45432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95" name="Group 94">
            <a:extLst>
              <a:ext uri="{FF2B5EF4-FFF2-40B4-BE49-F238E27FC236}">
                <a16:creationId xmlns:a16="http://schemas.microsoft.com/office/drawing/2014/main" id="{846363C5-5AF5-4DC6-A716-E093CBE0AE3F}"/>
              </a:ext>
            </a:extLst>
          </p:cNvPr>
          <p:cNvGrpSpPr/>
          <p:nvPr/>
        </p:nvGrpSpPr>
        <p:grpSpPr>
          <a:xfrm>
            <a:off x="9683496" y="1706408"/>
            <a:ext cx="2252072" cy="1947104"/>
            <a:chOff x="9683496" y="1706408"/>
            <a:chExt cx="2252072" cy="1947104"/>
          </a:xfrm>
        </p:grpSpPr>
        <p:sp>
          <p:nvSpPr>
            <p:cNvPr id="96" name="Rectangle: Rounded Corners 95">
              <a:extLst>
                <a:ext uri="{FF2B5EF4-FFF2-40B4-BE49-F238E27FC236}">
                  <a16:creationId xmlns:a16="http://schemas.microsoft.com/office/drawing/2014/main" id="{7F1B9895-A56D-4CD7-873F-D021AF97908A}"/>
                </a:ext>
              </a:extLst>
            </p:cNvPr>
            <p:cNvSpPr/>
            <p:nvPr/>
          </p:nvSpPr>
          <p:spPr>
            <a:xfrm>
              <a:off x="9758362" y="1728174"/>
              <a:ext cx="2177206" cy="1925338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 w="28575">
              <a:solidFill>
                <a:srgbClr val="3E4D6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rgbClr val="6B6B6B"/>
                  </a:solidFill>
                </a:rPr>
                <a:t>AUC: 87.1%</a:t>
              </a:r>
            </a:p>
          </p:txBody>
        </p:sp>
        <p:pic>
          <p:nvPicPr>
            <p:cNvPr id="97" name="Picture 14" descr="Image result for naive bayes icon">
              <a:extLst>
                <a:ext uri="{FF2B5EF4-FFF2-40B4-BE49-F238E27FC236}">
                  <a16:creationId xmlns:a16="http://schemas.microsoft.com/office/drawing/2014/main" id="{D1FF6723-1EAE-4F73-9706-0B543D85CF2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6">
              <a:biLevel thresh="7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683496" y="1706408"/>
              <a:ext cx="735006" cy="73500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98" name="Group 97">
            <a:extLst>
              <a:ext uri="{FF2B5EF4-FFF2-40B4-BE49-F238E27FC236}">
                <a16:creationId xmlns:a16="http://schemas.microsoft.com/office/drawing/2014/main" id="{3419F0ED-6544-448E-974D-838151106CAC}"/>
              </a:ext>
            </a:extLst>
          </p:cNvPr>
          <p:cNvGrpSpPr/>
          <p:nvPr/>
        </p:nvGrpSpPr>
        <p:grpSpPr>
          <a:xfrm>
            <a:off x="153814" y="4142343"/>
            <a:ext cx="2177206" cy="1925338"/>
            <a:chOff x="153814" y="4142343"/>
            <a:chExt cx="2177206" cy="1925338"/>
          </a:xfrm>
        </p:grpSpPr>
        <p:sp>
          <p:nvSpPr>
            <p:cNvPr id="99" name="Rectangle: Rounded Corners 98">
              <a:extLst>
                <a:ext uri="{FF2B5EF4-FFF2-40B4-BE49-F238E27FC236}">
                  <a16:creationId xmlns:a16="http://schemas.microsoft.com/office/drawing/2014/main" id="{29FF58AC-9951-4BCA-82F0-DEE51A17F560}"/>
                </a:ext>
              </a:extLst>
            </p:cNvPr>
            <p:cNvSpPr/>
            <p:nvPr/>
          </p:nvSpPr>
          <p:spPr>
            <a:xfrm>
              <a:off x="153814" y="4142343"/>
              <a:ext cx="2177206" cy="1925338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 w="28575">
              <a:solidFill>
                <a:srgbClr val="ED7D3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rgbClr val="6B6B6B"/>
                  </a:solidFill>
                </a:rPr>
                <a:t>AUC: 84.8%</a:t>
              </a:r>
            </a:p>
          </p:txBody>
        </p:sp>
        <p:pic>
          <p:nvPicPr>
            <p:cNvPr id="100" name="Picture 16">
              <a:extLst>
                <a:ext uri="{FF2B5EF4-FFF2-40B4-BE49-F238E27FC236}">
                  <a16:creationId xmlns:a16="http://schemas.microsoft.com/office/drawing/2014/main" id="{A343BD82-36B2-4C85-9B81-98EEBCF24E3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7"/>
            <a:stretch>
              <a:fillRect/>
            </a:stretch>
          </p:blipFill>
          <p:spPr bwMode="auto">
            <a:xfrm>
              <a:off x="184282" y="4271026"/>
              <a:ext cx="518040" cy="40836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01" name="Group 100">
            <a:extLst>
              <a:ext uri="{FF2B5EF4-FFF2-40B4-BE49-F238E27FC236}">
                <a16:creationId xmlns:a16="http://schemas.microsoft.com/office/drawing/2014/main" id="{B546EDCF-F1C2-435E-9DE2-A8F77C3A6EA5}"/>
              </a:ext>
            </a:extLst>
          </p:cNvPr>
          <p:cNvGrpSpPr/>
          <p:nvPr/>
        </p:nvGrpSpPr>
        <p:grpSpPr>
          <a:xfrm>
            <a:off x="2526862" y="4154869"/>
            <a:ext cx="2177206" cy="1925338"/>
            <a:chOff x="2526862" y="4154869"/>
            <a:chExt cx="2177206" cy="1925338"/>
          </a:xfrm>
        </p:grpSpPr>
        <p:sp>
          <p:nvSpPr>
            <p:cNvPr id="102" name="Rectangle: Rounded Corners 101">
              <a:extLst>
                <a:ext uri="{FF2B5EF4-FFF2-40B4-BE49-F238E27FC236}">
                  <a16:creationId xmlns:a16="http://schemas.microsoft.com/office/drawing/2014/main" id="{ED00C4C4-97A4-4C9E-8770-D7D13314BFFD}"/>
                </a:ext>
              </a:extLst>
            </p:cNvPr>
            <p:cNvSpPr/>
            <p:nvPr/>
          </p:nvSpPr>
          <p:spPr>
            <a:xfrm>
              <a:off x="2526862" y="4154869"/>
              <a:ext cx="2177206" cy="1925338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 w="28575">
              <a:solidFill>
                <a:srgbClr val="3E4D6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dirty="0">
                  <a:solidFill>
                    <a:srgbClr val="6B6B6B"/>
                  </a:solidFill>
                </a:rPr>
                <a:t>AUC: 90.1%</a:t>
              </a:r>
            </a:p>
          </p:txBody>
        </p:sp>
        <p:pic>
          <p:nvPicPr>
            <p:cNvPr id="103" name="Picture 102">
              <a:extLst>
                <a:ext uri="{FF2B5EF4-FFF2-40B4-BE49-F238E27FC236}">
                  <a16:creationId xmlns:a16="http://schemas.microsoft.com/office/drawing/2014/main" id="{DEB56FD2-E35F-420F-BDE6-C2EA2528FDE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8"/>
            <a:stretch>
              <a:fillRect/>
            </a:stretch>
          </p:blipFill>
          <p:spPr bwMode="auto">
            <a:xfrm>
              <a:off x="2685694" y="4287288"/>
              <a:ext cx="557895" cy="27780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04" name="Group 103">
            <a:extLst>
              <a:ext uri="{FF2B5EF4-FFF2-40B4-BE49-F238E27FC236}">
                <a16:creationId xmlns:a16="http://schemas.microsoft.com/office/drawing/2014/main" id="{AE880F82-512C-4A78-A6BC-8EB2A4696E3F}"/>
              </a:ext>
            </a:extLst>
          </p:cNvPr>
          <p:cNvGrpSpPr/>
          <p:nvPr/>
        </p:nvGrpSpPr>
        <p:grpSpPr>
          <a:xfrm>
            <a:off x="4926072" y="4142072"/>
            <a:ext cx="2177206" cy="1925338"/>
            <a:chOff x="4926072" y="4142072"/>
            <a:chExt cx="2177206" cy="1925338"/>
          </a:xfrm>
        </p:grpSpPr>
        <p:sp>
          <p:nvSpPr>
            <p:cNvPr id="105" name="Rectangle: Rounded Corners 104">
              <a:extLst>
                <a:ext uri="{FF2B5EF4-FFF2-40B4-BE49-F238E27FC236}">
                  <a16:creationId xmlns:a16="http://schemas.microsoft.com/office/drawing/2014/main" id="{3DC21F3D-5939-44D1-8F08-844C30106D08}"/>
                </a:ext>
              </a:extLst>
            </p:cNvPr>
            <p:cNvSpPr/>
            <p:nvPr/>
          </p:nvSpPr>
          <p:spPr>
            <a:xfrm>
              <a:off x="4926072" y="4142072"/>
              <a:ext cx="2177206" cy="1925338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 w="28575">
              <a:solidFill>
                <a:srgbClr val="ED7D3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rgbClr val="6B6B6B"/>
                  </a:solidFill>
                </a:rPr>
                <a:t>AUC:  88.9%</a:t>
              </a:r>
            </a:p>
          </p:txBody>
        </p:sp>
        <p:pic>
          <p:nvPicPr>
            <p:cNvPr id="106" name="Picture 20" descr="Network">
              <a:extLst>
                <a:ext uri="{FF2B5EF4-FFF2-40B4-BE49-F238E27FC236}">
                  <a16:creationId xmlns:a16="http://schemas.microsoft.com/office/drawing/2014/main" id="{79B75C11-4E0F-4563-B7E0-B6CA07962DE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 bwMode="auto">
            <a:xfrm>
              <a:off x="5033901" y="4217083"/>
              <a:ext cx="465332" cy="46533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07" name="Group 106">
            <a:extLst>
              <a:ext uri="{FF2B5EF4-FFF2-40B4-BE49-F238E27FC236}">
                <a16:creationId xmlns:a16="http://schemas.microsoft.com/office/drawing/2014/main" id="{4579EFAE-A6A8-4ED7-B320-06A02BE06F24}"/>
              </a:ext>
            </a:extLst>
          </p:cNvPr>
          <p:cNvGrpSpPr/>
          <p:nvPr/>
        </p:nvGrpSpPr>
        <p:grpSpPr>
          <a:xfrm>
            <a:off x="9761115" y="4154869"/>
            <a:ext cx="2177206" cy="1925338"/>
            <a:chOff x="9742737" y="4092331"/>
            <a:chExt cx="2177206" cy="1925338"/>
          </a:xfrm>
        </p:grpSpPr>
        <p:sp>
          <p:nvSpPr>
            <p:cNvPr id="108" name="Rectangle: Rounded Corners 107">
              <a:extLst>
                <a:ext uri="{FF2B5EF4-FFF2-40B4-BE49-F238E27FC236}">
                  <a16:creationId xmlns:a16="http://schemas.microsoft.com/office/drawing/2014/main" id="{F6EC1F68-BE21-452E-9A13-FE9BB4C53E04}"/>
                </a:ext>
              </a:extLst>
            </p:cNvPr>
            <p:cNvSpPr/>
            <p:nvPr/>
          </p:nvSpPr>
          <p:spPr>
            <a:xfrm>
              <a:off x="9742737" y="4092331"/>
              <a:ext cx="2177206" cy="1925338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 w="28575">
              <a:solidFill>
                <a:srgbClr val="ED7D3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>
                  <a:solidFill>
                    <a:srgbClr val="6B6B6B"/>
                  </a:solidFill>
                </a:rPr>
                <a:t>AUC: 92.6%</a:t>
              </a:r>
            </a:p>
          </p:txBody>
        </p:sp>
        <p:pic>
          <p:nvPicPr>
            <p:cNvPr id="109" name="Picture 108" descr="A picture containing black, indoor, sitting, top&#10;&#10;Description automatically generated">
              <a:extLst>
                <a:ext uri="{FF2B5EF4-FFF2-40B4-BE49-F238E27FC236}">
                  <a16:creationId xmlns:a16="http://schemas.microsoft.com/office/drawing/2014/main" id="{5AAF1447-2671-4732-8F46-9E5A3CD93A1C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backgroundRemoval t="3800" b="95855" l="7005" r="91896">
                          <a14:foregroundMark x1="12225" y1="29879" x2="12225" y2="29879"/>
                          <a14:foregroundMark x1="50275" y1="13299" x2="50275" y2="13299"/>
                          <a14:foregroundMark x1="86951" y1="51295" x2="86951" y2="51295"/>
                          <a14:foregroundMark x1="45742" y1="31952" x2="45742" y2="31952"/>
                          <a14:foregroundMark x1="48626" y1="39724" x2="50687" y2="39724"/>
                          <a14:foregroundMark x1="50275" y1="11917" x2="50275" y2="4145"/>
                          <a14:foregroundMark x1="7692" y1="31088" x2="13599" y2="30570"/>
                          <a14:foregroundMark x1="13187" y1="74611" x2="13187" y2="67703"/>
                          <a14:foregroundMark x1="50687" y1="95855" x2="49863" y2="88428"/>
                          <a14:foregroundMark x1="90522" y1="51295" x2="91896" y2="43523"/>
                          <a14:foregroundMark x1="7005" y1="73402" x2="7418" y2="69430"/>
                          <a14:foregroundMark x1="11813" y1="30570" x2="15659" y2="30570"/>
                          <a14:foregroundMark x1="50687" y1="37133" x2="51786" y2="38860"/>
                          <a14:foregroundMark x1="49863" y1="38342" x2="49863" y2="31434"/>
                          <a14:foregroundMark x1="51374" y1="65630" x2="49863" y2="59067"/>
                          <a14:foregroundMark x1="50275" y1="95337" x2="46841" y2="89637"/>
                          <a14:foregroundMark x1="88049" y1="53886" x2="83929" y2="45596"/>
                          <a14:foregroundMark x1="83929" y1="45596" x2="84341" y2="43523"/>
                          <a14:foregroundMark x1="21841" y1="23316" x2="28709" y2="18480"/>
                          <a14:backgroundMark x1="56456" y1="24180" x2="65110" y2="32470"/>
                        </a14:backgroundRemoval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9870778" y="4174682"/>
              <a:ext cx="512742" cy="407799"/>
            </a:xfrm>
            <a:prstGeom prst="rect">
              <a:avLst/>
            </a:prstGeom>
          </p:spPr>
        </p:pic>
      </p:grpSp>
      <p:grpSp>
        <p:nvGrpSpPr>
          <p:cNvPr id="110" name="Group 109">
            <a:extLst>
              <a:ext uri="{FF2B5EF4-FFF2-40B4-BE49-F238E27FC236}">
                <a16:creationId xmlns:a16="http://schemas.microsoft.com/office/drawing/2014/main" id="{0026F950-4812-4B82-9236-3AFB1542D8A9}"/>
              </a:ext>
            </a:extLst>
          </p:cNvPr>
          <p:cNvGrpSpPr/>
          <p:nvPr/>
        </p:nvGrpSpPr>
        <p:grpSpPr>
          <a:xfrm>
            <a:off x="7310970" y="1728174"/>
            <a:ext cx="2177206" cy="1925338"/>
            <a:chOff x="7310970" y="1728174"/>
            <a:chExt cx="2177206" cy="1925338"/>
          </a:xfrm>
        </p:grpSpPr>
        <p:sp>
          <p:nvSpPr>
            <p:cNvPr id="111" name="Rectangle: Rounded Corners 110">
              <a:extLst>
                <a:ext uri="{FF2B5EF4-FFF2-40B4-BE49-F238E27FC236}">
                  <a16:creationId xmlns:a16="http://schemas.microsoft.com/office/drawing/2014/main" id="{8B6D1DDE-E4BF-43FC-80FD-BAEDB0F51A51}"/>
                </a:ext>
              </a:extLst>
            </p:cNvPr>
            <p:cNvSpPr/>
            <p:nvPr/>
          </p:nvSpPr>
          <p:spPr>
            <a:xfrm>
              <a:off x="7310970" y="1728174"/>
              <a:ext cx="2177206" cy="1925338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 w="28575">
              <a:solidFill>
                <a:srgbClr val="ED7D3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rgbClr val="6B6B6B"/>
                  </a:solidFill>
                </a:rPr>
                <a:t>AUC: 71.6%</a:t>
              </a:r>
            </a:p>
          </p:txBody>
        </p:sp>
        <p:pic>
          <p:nvPicPr>
            <p:cNvPr id="112" name="Picture 20">
              <a:extLst>
                <a:ext uri="{FF2B5EF4-FFF2-40B4-BE49-F238E27FC236}">
                  <a16:creationId xmlns:a16="http://schemas.microsoft.com/office/drawing/2014/main" id="{CB233E02-6C52-423F-91C0-07DA8D01881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9"/>
            <a:stretch>
              <a:fillRect/>
            </a:stretch>
          </p:blipFill>
          <p:spPr bwMode="auto">
            <a:xfrm>
              <a:off x="7434072" y="1826898"/>
              <a:ext cx="622505" cy="51821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42313242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8C61F604-EE8E-4E6D-84E4-58E5B56C7B54}"/>
              </a:ext>
            </a:extLst>
          </p:cNvPr>
          <p:cNvSpPr/>
          <p:nvPr/>
        </p:nvSpPr>
        <p:spPr>
          <a:xfrm>
            <a:off x="0" y="293170"/>
            <a:ext cx="1757680" cy="741204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43E4F1DC-CA77-4B2E-A2AC-80A845851DA4}"/>
              </a:ext>
            </a:extLst>
          </p:cNvPr>
          <p:cNvSpPr/>
          <p:nvPr/>
        </p:nvSpPr>
        <p:spPr>
          <a:xfrm>
            <a:off x="8575041" y="293170"/>
            <a:ext cx="3616959" cy="741204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D977CC5-4FFD-4C0F-A13C-5B3AE1ADED59}"/>
              </a:ext>
            </a:extLst>
          </p:cNvPr>
          <p:cNvSpPr/>
          <p:nvPr/>
        </p:nvSpPr>
        <p:spPr>
          <a:xfrm>
            <a:off x="1757681" y="293170"/>
            <a:ext cx="6817360" cy="74120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dirty="0">
                <a:solidFill>
                  <a:schemeClr val="tx1"/>
                </a:solidFill>
              </a:rPr>
              <a:t>Impact</a:t>
            </a:r>
          </a:p>
        </p:txBody>
      </p:sp>
      <p:grpSp>
        <p:nvGrpSpPr>
          <p:cNvPr id="37" name="Group 36">
            <a:extLst>
              <a:ext uri="{FF2B5EF4-FFF2-40B4-BE49-F238E27FC236}">
                <a16:creationId xmlns:a16="http://schemas.microsoft.com/office/drawing/2014/main" id="{C3624838-52A2-41AB-BE9E-962E4E3486F2}"/>
              </a:ext>
            </a:extLst>
          </p:cNvPr>
          <p:cNvGrpSpPr/>
          <p:nvPr/>
        </p:nvGrpSpPr>
        <p:grpSpPr>
          <a:xfrm>
            <a:off x="7532247" y="2203367"/>
            <a:ext cx="4306735" cy="1607659"/>
            <a:chOff x="4464883" y="2165762"/>
            <a:chExt cx="4306735" cy="1525421"/>
          </a:xfrm>
        </p:grpSpPr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E40B13A1-3EC0-4AED-AB5A-7F221B8435B0}"/>
                </a:ext>
              </a:extLst>
            </p:cNvPr>
            <p:cNvSpPr/>
            <p:nvPr/>
          </p:nvSpPr>
          <p:spPr>
            <a:xfrm>
              <a:off x="6465698" y="3188601"/>
              <a:ext cx="2305920" cy="502582"/>
            </a:xfrm>
            <a:custGeom>
              <a:avLst/>
              <a:gdLst>
                <a:gd name="connsiteX0" fmla="*/ 0 w 2114937"/>
                <a:gd name="connsiteY0" fmla="*/ 0 h 897246"/>
                <a:gd name="connsiteX1" fmla="*/ 2114937 w 2114937"/>
                <a:gd name="connsiteY1" fmla="*/ 0 h 897246"/>
                <a:gd name="connsiteX2" fmla="*/ 2114937 w 2114937"/>
                <a:gd name="connsiteY2" fmla="*/ 897246 h 897246"/>
                <a:gd name="connsiteX3" fmla="*/ 0 w 2114937"/>
                <a:gd name="connsiteY3" fmla="*/ 897246 h 897246"/>
                <a:gd name="connsiteX4" fmla="*/ 0 w 2114937"/>
                <a:gd name="connsiteY4" fmla="*/ 0 h 897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14937" h="897246">
                  <a:moveTo>
                    <a:pt x="0" y="0"/>
                  </a:moveTo>
                  <a:lnTo>
                    <a:pt x="2114937" y="0"/>
                  </a:lnTo>
                  <a:lnTo>
                    <a:pt x="2114937" y="897246"/>
                  </a:lnTo>
                  <a:lnTo>
                    <a:pt x="0" y="897246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0" tIns="0" rIns="0" bIns="0" numCol="1" spcCol="1270" anchor="ctr" anchorCtr="0">
              <a:noAutofit/>
            </a:bodyPr>
            <a:lstStyle/>
            <a:p>
              <a:pPr marL="0" lvl="0" indent="0" algn="l" defTabSz="533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dirty="0">
                  <a:solidFill>
                    <a:srgbClr val="6B6B6B"/>
                  </a:solidFill>
                </a:rPr>
                <a:t>Boost</a:t>
              </a:r>
              <a:r>
                <a:rPr lang="en-US" kern="1200" dirty="0">
                  <a:solidFill>
                    <a:srgbClr val="6B6B6B"/>
                  </a:solidFill>
                </a:rPr>
                <a:t> time on site</a:t>
              </a:r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7F646401-96BD-4CEB-9E4A-203A3A8F74E0}"/>
                </a:ext>
              </a:extLst>
            </p:cNvPr>
            <p:cNvSpPr/>
            <p:nvPr/>
          </p:nvSpPr>
          <p:spPr>
            <a:xfrm>
              <a:off x="4464883" y="3188601"/>
              <a:ext cx="2053720" cy="502582"/>
            </a:xfrm>
            <a:custGeom>
              <a:avLst/>
              <a:gdLst>
                <a:gd name="connsiteX0" fmla="*/ 0 w 2114937"/>
                <a:gd name="connsiteY0" fmla="*/ 0 h 897246"/>
                <a:gd name="connsiteX1" fmla="*/ 2114937 w 2114937"/>
                <a:gd name="connsiteY1" fmla="*/ 0 h 897246"/>
                <a:gd name="connsiteX2" fmla="*/ 2114937 w 2114937"/>
                <a:gd name="connsiteY2" fmla="*/ 897246 h 897246"/>
                <a:gd name="connsiteX3" fmla="*/ 0 w 2114937"/>
                <a:gd name="connsiteY3" fmla="*/ 897246 h 897246"/>
                <a:gd name="connsiteX4" fmla="*/ 0 w 2114937"/>
                <a:gd name="connsiteY4" fmla="*/ 0 h 897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14937" h="897246">
                  <a:moveTo>
                    <a:pt x="0" y="0"/>
                  </a:moveTo>
                  <a:lnTo>
                    <a:pt x="2114937" y="0"/>
                  </a:lnTo>
                  <a:lnTo>
                    <a:pt x="2114937" y="897246"/>
                  </a:lnTo>
                  <a:lnTo>
                    <a:pt x="0" y="897246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0" tIns="0" rIns="0" bIns="0" numCol="1" spcCol="1270" anchor="ctr" anchorCtr="0">
              <a:noAutofit/>
            </a:bodyPr>
            <a:lstStyle/>
            <a:p>
              <a:pPr marL="0" lvl="0" indent="0" algn="l" defTabSz="533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kern="1200" dirty="0">
                  <a:solidFill>
                    <a:srgbClr val="6B6B6B"/>
                  </a:solidFill>
                </a:rPr>
                <a:t>Increase traffic</a:t>
              </a:r>
            </a:p>
          </p:txBody>
        </p:sp>
        <p:grpSp>
          <p:nvGrpSpPr>
            <p:cNvPr id="40" name="Group 39">
              <a:extLst>
                <a:ext uri="{FF2B5EF4-FFF2-40B4-BE49-F238E27FC236}">
                  <a16:creationId xmlns:a16="http://schemas.microsoft.com/office/drawing/2014/main" id="{8D0F4527-A2B3-4E0A-8A28-DBEEB3E9449E}"/>
                </a:ext>
              </a:extLst>
            </p:cNvPr>
            <p:cNvGrpSpPr/>
            <p:nvPr/>
          </p:nvGrpSpPr>
          <p:grpSpPr>
            <a:xfrm>
              <a:off x="4651127" y="2243051"/>
              <a:ext cx="896112" cy="788271"/>
              <a:chOff x="4651127" y="2243051"/>
              <a:chExt cx="896112" cy="788271"/>
            </a:xfrm>
          </p:grpSpPr>
          <p:sp>
            <p:nvSpPr>
              <p:cNvPr id="45" name="Oval 44">
                <a:extLst>
                  <a:ext uri="{FF2B5EF4-FFF2-40B4-BE49-F238E27FC236}">
                    <a16:creationId xmlns:a16="http://schemas.microsoft.com/office/drawing/2014/main" id="{3D96AC1B-31FA-413B-B2F5-17554F87F413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4651127" y="2243051"/>
                <a:ext cx="896112" cy="788271"/>
              </a:xfrm>
              <a:prstGeom prst="ellipse">
                <a:avLst/>
              </a:prstGeom>
              <a:solidFill>
                <a:srgbClr val="3E4D62"/>
              </a:solidFill>
            </p:spPr>
            <p:style>
              <a:lnRef idx="0">
                <a:schemeClr val="lt1">
                  <a:alpha val="0"/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2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2">
                  <a:hueOff val="0"/>
                  <a:satOff val="0"/>
                  <a:lumOff val="0"/>
                  <a:alphaOff val="0"/>
                </a:schemeClr>
              </a:effectRef>
              <a:fontRef idx="minor"/>
            </p:style>
          </p:sp>
          <p:pic>
            <p:nvPicPr>
              <p:cNvPr id="46" name="Graphic 45" descr="Group of people">
                <a:extLst>
                  <a:ext uri="{FF2B5EF4-FFF2-40B4-BE49-F238E27FC236}">
                    <a16:creationId xmlns:a16="http://schemas.microsoft.com/office/drawing/2014/main" id="{FE56AAF4-598A-478D-8016-BF22322B4A7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>
                <a:extLs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4780158" y="2332364"/>
                <a:ext cx="604467" cy="604467"/>
              </a:xfrm>
              <a:prstGeom prst="rect">
                <a:avLst/>
              </a:prstGeom>
            </p:spPr>
          </p:pic>
        </p:grpSp>
        <p:grpSp>
          <p:nvGrpSpPr>
            <p:cNvPr id="41" name="Group 40">
              <a:extLst>
                <a:ext uri="{FF2B5EF4-FFF2-40B4-BE49-F238E27FC236}">
                  <a16:creationId xmlns:a16="http://schemas.microsoft.com/office/drawing/2014/main" id="{A26F49F5-BB18-45C8-8527-2A4DE5DE8E35}"/>
                </a:ext>
              </a:extLst>
            </p:cNvPr>
            <p:cNvGrpSpPr/>
            <p:nvPr/>
          </p:nvGrpSpPr>
          <p:grpSpPr>
            <a:xfrm>
              <a:off x="6673874" y="2165762"/>
              <a:ext cx="896112" cy="896112"/>
              <a:chOff x="5622270" y="2165762"/>
              <a:chExt cx="896112" cy="896112"/>
            </a:xfrm>
          </p:grpSpPr>
          <p:sp>
            <p:nvSpPr>
              <p:cNvPr id="43" name="Oval 42">
                <a:extLst>
                  <a:ext uri="{FF2B5EF4-FFF2-40B4-BE49-F238E27FC236}">
                    <a16:creationId xmlns:a16="http://schemas.microsoft.com/office/drawing/2014/main" id="{961B98CB-D968-42DC-984F-A5426465FB48}"/>
                  </a:ext>
                </a:extLst>
              </p:cNvPr>
              <p:cNvSpPr/>
              <p:nvPr/>
            </p:nvSpPr>
            <p:spPr>
              <a:xfrm>
                <a:off x="5622270" y="2165762"/>
                <a:ext cx="896112" cy="896112"/>
              </a:xfrm>
              <a:prstGeom prst="ellipse">
                <a:avLst/>
              </a:prstGeom>
              <a:solidFill>
                <a:srgbClr val="ED7D31"/>
              </a:solidFill>
            </p:spPr>
            <p:style>
              <a:lnRef idx="0">
                <a:schemeClr val="lt1">
                  <a:alpha val="0"/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2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2">
                  <a:hueOff val="0"/>
                  <a:satOff val="0"/>
                  <a:lumOff val="0"/>
                  <a:alphaOff val="0"/>
                </a:schemeClr>
              </a:effectRef>
              <a:fontRef idx="minor"/>
            </p:style>
          </p:sp>
          <p:pic>
            <p:nvPicPr>
              <p:cNvPr id="44" name="Graphic 43" descr="Stopwatch">
                <a:extLst>
                  <a:ext uri="{FF2B5EF4-FFF2-40B4-BE49-F238E27FC236}">
                    <a16:creationId xmlns:a16="http://schemas.microsoft.com/office/drawing/2014/main" id="{CBEB31EB-37D4-4877-BA69-0EEB549CF74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5718795" y="2266126"/>
                <a:ext cx="685800" cy="685800"/>
              </a:xfrm>
              <a:prstGeom prst="rect">
                <a:avLst/>
              </a:prstGeom>
            </p:spPr>
          </p:pic>
        </p:grpSp>
        <p:sp>
          <p:nvSpPr>
            <p:cNvPr id="42" name="Plus Sign 41">
              <a:extLst>
                <a:ext uri="{FF2B5EF4-FFF2-40B4-BE49-F238E27FC236}">
                  <a16:creationId xmlns:a16="http://schemas.microsoft.com/office/drawing/2014/main" id="{42DEF16A-F8B9-4A27-B13C-F865DD4745FF}"/>
                </a:ext>
              </a:extLst>
            </p:cNvPr>
            <p:cNvSpPr/>
            <p:nvPr/>
          </p:nvSpPr>
          <p:spPr>
            <a:xfrm>
              <a:off x="5936462" y="2403284"/>
              <a:ext cx="481230" cy="502583"/>
            </a:xfrm>
            <a:prstGeom prst="mathPlus">
              <a:avLst/>
            </a:prstGeom>
            <a:solidFill>
              <a:srgbClr val="7C7B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/>
            </a:p>
          </p:txBody>
        </p: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1DD09D7E-5DD9-4B36-8465-231A46E6E18E}"/>
              </a:ext>
            </a:extLst>
          </p:cNvPr>
          <p:cNvGrpSpPr/>
          <p:nvPr/>
        </p:nvGrpSpPr>
        <p:grpSpPr>
          <a:xfrm>
            <a:off x="442700" y="3429000"/>
            <a:ext cx="6724054" cy="1493860"/>
            <a:chOff x="1815752" y="2235992"/>
            <a:chExt cx="6724054" cy="1493860"/>
          </a:xfrm>
        </p:grpSpPr>
        <p:grpSp>
          <p:nvGrpSpPr>
            <p:cNvPr id="28" name="Group 27">
              <a:extLst>
                <a:ext uri="{FF2B5EF4-FFF2-40B4-BE49-F238E27FC236}">
                  <a16:creationId xmlns:a16="http://schemas.microsoft.com/office/drawing/2014/main" id="{AB22D258-3287-44B0-90F0-896955658D8D}"/>
                </a:ext>
              </a:extLst>
            </p:cNvPr>
            <p:cNvGrpSpPr/>
            <p:nvPr/>
          </p:nvGrpSpPr>
          <p:grpSpPr>
            <a:xfrm>
              <a:off x="5299406" y="2235992"/>
              <a:ext cx="3026325" cy="897246"/>
              <a:chOff x="6511754" y="1294105"/>
              <a:chExt cx="3026325" cy="897246"/>
            </a:xfrm>
          </p:grpSpPr>
          <p:sp>
            <p:nvSpPr>
              <p:cNvPr id="15" name="Oval 14">
                <a:extLst>
                  <a:ext uri="{FF2B5EF4-FFF2-40B4-BE49-F238E27FC236}">
                    <a16:creationId xmlns:a16="http://schemas.microsoft.com/office/drawing/2014/main" id="{19B9DA47-589D-48C4-84CE-CDD086D7BED4}"/>
                  </a:ext>
                </a:extLst>
              </p:cNvPr>
              <p:cNvSpPr/>
              <p:nvPr/>
            </p:nvSpPr>
            <p:spPr>
              <a:xfrm>
                <a:off x="6511754" y="1294105"/>
                <a:ext cx="897246" cy="897246"/>
              </a:xfrm>
              <a:prstGeom prst="ellipse">
                <a:avLst/>
              </a:prstGeom>
              <a:solidFill>
                <a:srgbClr val="ED7D31"/>
              </a:solidFill>
            </p:spPr>
            <p:style>
              <a:lnRef idx="0">
                <a:schemeClr val="lt1">
                  <a:alpha val="0"/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3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3">
                  <a:hueOff val="0"/>
                  <a:satOff val="0"/>
                  <a:lumOff val="0"/>
                  <a:alphaOff val="0"/>
                </a:schemeClr>
              </a:effectRef>
              <a:fontRef idx="minor"/>
            </p:style>
          </p:sp>
          <p:sp>
            <p:nvSpPr>
              <p:cNvPr id="16" name="Rectangle 15" descr="Lightbulb">
                <a:extLst>
                  <a:ext uri="{FF2B5EF4-FFF2-40B4-BE49-F238E27FC236}">
                    <a16:creationId xmlns:a16="http://schemas.microsoft.com/office/drawing/2014/main" id="{561668B0-93E2-4687-BD37-C18BBE44C8DF}"/>
                  </a:ext>
                </a:extLst>
              </p:cNvPr>
              <p:cNvSpPr/>
              <p:nvPr/>
            </p:nvSpPr>
            <p:spPr>
              <a:xfrm>
                <a:off x="6700175" y="1482526"/>
                <a:ext cx="520402" cy="520402"/>
              </a:xfrm>
              <a:prstGeom prst="rect">
                <a:avLst/>
              </a:prstGeom>
              <a:blipFill>
                <a:blip r:embed="rId6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7"/>
                    </a:ext>
                  </a:extLst>
                </a:blip>
                <a:stretch>
                  <a:fillRect/>
                </a:stretch>
              </a:blipFill>
              <a:ln>
                <a:noFill/>
              </a:ln>
            </p:spPr>
            <p:style>
              <a:lnRef idx="2">
                <a:scrgbClr r="0" g="0" b="0"/>
              </a:lnRef>
              <a:fillRef idx="1">
                <a:scrgbClr r="0" g="0" b="0"/>
              </a:fillRef>
              <a:effectRef idx="0">
                <a:schemeClr val="bg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17" name="Freeform: Shape 16">
                <a:extLst>
                  <a:ext uri="{FF2B5EF4-FFF2-40B4-BE49-F238E27FC236}">
                    <a16:creationId xmlns:a16="http://schemas.microsoft.com/office/drawing/2014/main" id="{FA31EDD6-027B-4697-B334-316CBFC19DBE}"/>
                  </a:ext>
                </a:extLst>
              </p:cNvPr>
              <p:cNvSpPr/>
              <p:nvPr/>
            </p:nvSpPr>
            <p:spPr>
              <a:xfrm>
                <a:off x="7423142" y="1294105"/>
                <a:ext cx="2114937" cy="897246"/>
              </a:xfrm>
              <a:custGeom>
                <a:avLst/>
                <a:gdLst>
                  <a:gd name="connsiteX0" fmla="*/ 0 w 2114937"/>
                  <a:gd name="connsiteY0" fmla="*/ 0 h 897246"/>
                  <a:gd name="connsiteX1" fmla="*/ 2114937 w 2114937"/>
                  <a:gd name="connsiteY1" fmla="*/ 0 h 897246"/>
                  <a:gd name="connsiteX2" fmla="*/ 2114937 w 2114937"/>
                  <a:gd name="connsiteY2" fmla="*/ 897246 h 897246"/>
                  <a:gd name="connsiteX3" fmla="*/ 0 w 2114937"/>
                  <a:gd name="connsiteY3" fmla="*/ 897246 h 897246"/>
                  <a:gd name="connsiteX4" fmla="*/ 0 w 2114937"/>
                  <a:gd name="connsiteY4" fmla="*/ 0 h 8972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114937" h="897246">
                    <a:moveTo>
                      <a:pt x="0" y="0"/>
                    </a:moveTo>
                    <a:lnTo>
                      <a:pt x="2114937" y="0"/>
                    </a:lnTo>
                    <a:lnTo>
                      <a:pt x="2114937" y="897246"/>
                    </a:lnTo>
                    <a:lnTo>
                      <a:pt x="0" y="897246"/>
                    </a:lnTo>
                    <a:lnTo>
                      <a:pt x="0" y="0"/>
                    </a:lnTo>
                    <a:close/>
                  </a:path>
                </a:pathLst>
              </a:custGeom>
            </p:spPr>
            <p:style>
              <a:lnRef idx="0">
                <a:schemeClr val="dk1">
                  <a:alpha val="0"/>
                  <a:hueOff val="0"/>
                  <a:satOff val="0"/>
                  <a:lumOff val="0"/>
                  <a:alphaOff val="0"/>
                </a:schemeClr>
              </a:lnRef>
              <a:fillRef idx="0">
                <a:schemeClr val="lt1">
                  <a:alpha val="0"/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lt1">
                  <a:alpha val="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tx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spcFirstLastPara="0" vert="horz" wrap="square" lIns="0" tIns="0" rIns="0" bIns="0" numCol="1" spcCol="1270" anchor="ctr" anchorCtr="0">
                <a:noAutofit/>
              </a:bodyPr>
              <a:lstStyle/>
              <a:p>
                <a:pPr marL="0" lvl="0" indent="0" algn="l" defTabSz="5334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r>
                  <a:rPr lang="en-US" sz="1400" dirty="0">
                    <a:solidFill>
                      <a:srgbClr val="6B6B6B"/>
                    </a:solidFill>
                  </a:rPr>
                  <a:t>R</a:t>
                </a:r>
                <a:r>
                  <a:rPr lang="en-US" sz="1400" kern="1200" dirty="0">
                    <a:solidFill>
                      <a:srgbClr val="6B6B6B"/>
                    </a:solidFill>
                  </a:rPr>
                  <a:t>andom post generation feature </a:t>
                </a:r>
              </a:p>
            </p:txBody>
          </p:sp>
        </p:grpSp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id="{490C9090-9616-416A-9C59-9E4B467807D1}"/>
                </a:ext>
              </a:extLst>
            </p:cNvPr>
            <p:cNvGrpSpPr/>
            <p:nvPr/>
          </p:nvGrpSpPr>
          <p:grpSpPr>
            <a:xfrm>
              <a:off x="1815752" y="2235992"/>
              <a:ext cx="3073822" cy="897246"/>
              <a:chOff x="8066736" y="2734184"/>
              <a:chExt cx="3073822" cy="897246"/>
            </a:xfrm>
          </p:grpSpPr>
          <p:sp>
            <p:nvSpPr>
              <p:cNvPr id="18" name="Oval 17">
                <a:extLst>
                  <a:ext uri="{FF2B5EF4-FFF2-40B4-BE49-F238E27FC236}">
                    <a16:creationId xmlns:a16="http://schemas.microsoft.com/office/drawing/2014/main" id="{92CE7041-D97F-4C04-9187-5F6950B50963}"/>
                  </a:ext>
                </a:extLst>
              </p:cNvPr>
              <p:cNvSpPr/>
              <p:nvPr/>
            </p:nvSpPr>
            <p:spPr>
              <a:xfrm>
                <a:off x="8066736" y="2734184"/>
                <a:ext cx="897246" cy="897246"/>
              </a:xfrm>
              <a:prstGeom prst="ellipse">
                <a:avLst/>
              </a:prstGeom>
              <a:solidFill>
                <a:srgbClr val="3E4D62"/>
              </a:solidFill>
            </p:spPr>
            <p:style>
              <a:lnRef idx="0">
                <a:schemeClr val="lt1">
                  <a:alpha val="0"/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4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4">
                  <a:hueOff val="0"/>
                  <a:satOff val="0"/>
                  <a:lumOff val="0"/>
                  <a:alphaOff val="0"/>
                </a:schemeClr>
              </a:effectRef>
              <a:fontRef idx="minor"/>
            </p:style>
          </p:sp>
          <p:sp>
            <p:nvSpPr>
              <p:cNvPr id="19" name="Rectangle 18" descr="Moustache Face with Solid Fill">
                <a:extLst>
                  <a:ext uri="{FF2B5EF4-FFF2-40B4-BE49-F238E27FC236}">
                    <a16:creationId xmlns:a16="http://schemas.microsoft.com/office/drawing/2014/main" id="{9EB1E431-6697-48E5-A7A6-FE684980BF1C}"/>
                  </a:ext>
                </a:extLst>
              </p:cNvPr>
              <p:cNvSpPr/>
              <p:nvPr/>
            </p:nvSpPr>
            <p:spPr>
              <a:xfrm>
                <a:off x="8255158" y="2922605"/>
                <a:ext cx="520402" cy="520402"/>
              </a:xfrm>
              <a:prstGeom prst="rect">
                <a:avLst/>
              </a:prstGeom>
              <a:blipFill>
                <a:blip r:embed="rId8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9"/>
                    </a:ext>
                  </a:extLst>
                </a:blip>
                <a:stretch>
                  <a:fillRect/>
                </a:stretch>
              </a:blipFill>
              <a:ln>
                <a:noFill/>
              </a:ln>
            </p:spPr>
            <p:style>
              <a:lnRef idx="2">
                <a:scrgbClr r="0" g="0" b="0"/>
              </a:lnRef>
              <a:fillRef idx="1">
                <a:scrgbClr r="0" g="0" b="0"/>
              </a:fillRef>
              <a:effectRef idx="0">
                <a:schemeClr val="bg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</p:sp>
          <p:sp>
            <p:nvSpPr>
              <p:cNvPr id="20" name="Freeform: Shape 19">
                <a:extLst>
                  <a:ext uri="{FF2B5EF4-FFF2-40B4-BE49-F238E27FC236}">
                    <a16:creationId xmlns:a16="http://schemas.microsoft.com/office/drawing/2014/main" id="{28E35536-F429-45D5-A0A9-91966E0225AC}"/>
                  </a:ext>
                </a:extLst>
              </p:cNvPr>
              <p:cNvSpPr/>
              <p:nvPr/>
            </p:nvSpPr>
            <p:spPr>
              <a:xfrm>
                <a:off x="9025621" y="2734184"/>
                <a:ext cx="2114937" cy="897246"/>
              </a:xfrm>
              <a:custGeom>
                <a:avLst/>
                <a:gdLst>
                  <a:gd name="connsiteX0" fmla="*/ 0 w 2114937"/>
                  <a:gd name="connsiteY0" fmla="*/ 0 h 897246"/>
                  <a:gd name="connsiteX1" fmla="*/ 2114937 w 2114937"/>
                  <a:gd name="connsiteY1" fmla="*/ 0 h 897246"/>
                  <a:gd name="connsiteX2" fmla="*/ 2114937 w 2114937"/>
                  <a:gd name="connsiteY2" fmla="*/ 897246 h 897246"/>
                  <a:gd name="connsiteX3" fmla="*/ 0 w 2114937"/>
                  <a:gd name="connsiteY3" fmla="*/ 897246 h 897246"/>
                  <a:gd name="connsiteX4" fmla="*/ 0 w 2114937"/>
                  <a:gd name="connsiteY4" fmla="*/ 0 h 8972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114937" h="897246">
                    <a:moveTo>
                      <a:pt x="0" y="0"/>
                    </a:moveTo>
                    <a:lnTo>
                      <a:pt x="2114937" y="0"/>
                    </a:lnTo>
                    <a:lnTo>
                      <a:pt x="2114937" y="897246"/>
                    </a:lnTo>
                    <a:lnTo>
                      <a:pt x="0" y="897246"/>
                    </a:lnTo>
                    <a:lnTo>
                      <a:pt x="0" y="0"/>
                    </a:lnTo>
                    <a:close/>
                  </a:path>
                </a:pathLst>
              </a:custGeom>
            </p:spPr>
            <p:style>
              <a:lnRef idx="0">
                <a:schemeClr val="dk1">
                  <a:alpha val="0"/>
                  <a:hueOff val="0"/>
                  <a:satOff val="0"/>
                  <a:lumOff val="0"/>
                  <a:alphaOff val="0"/>
                </a:schemeClr>
              </a:lnRef>
              <a:fillRef idx="0">
                <a:schemeClr val="lt1">
                  <a:alpha val="0"/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lt1">
                  <a:alpha val="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tx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spcFirstLastPara="0" vert="horz" wrap="square" lIns="0" tIns="0" rIns="0" bIns="0" numCol="1" spcCol="1270" anchor="ctr" anchorCtr="0">
                <a:noAutofit/>
              </a:bodyPr>
              <a:lstStyle/>
              <a:p>
                <a:pPr marL="0" lvl="0" indent="0" algn="l" defTabSz="5334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r>
                  <a:rPr lang="en-US" sz="1400" dirty="0">
                    <a:solidFill>
                      <a:srgbClr val="6B6B6B"/>
                    </a:solidFill>
                  </a:rPr>
                  <a:t>Predict virality of new craigslist posts</a:t>
                </a:r>
                <a:endParaRPr lang="en-US" sz="1400" kern="1200" dirty="0">
                  <a:solidFill>
                    <a:srgbClr val="6B6B6B"/>
                  </a:solidFill>
                </a:endParaRPr>
              </a:p>
            </p:txBody>
          </p:sp>
        </p:grpSp>
        <p:sp>
          <p:nvSpPr>
            <p:cNvPr id="51" name="TextBox 50">
              <a:extLst>
                <a:ext uri="{FF2B5EF4-FFF2-40B4-BE49-F238E27FC236}">
                  <a16:creationId xmlns:a16="http://schemas.microsoft.com/office/drawing/2014/main" id="{9CA68DAF-2504-4B6E-9245-99E8C9897B54}"/>
                </a:ext>
              </a:extLst>
            </p:cNvPr>
            <p:cNvSpPr txBox="1"/>
            <p:nvPr/>
          </p:nvSpPr>
          <p:spPr>
            <a:xfrm>
              <a:off x="1866111" y="3184295"/>
              <a:ext cx="3284614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just"/>
              <a:r>
                <a:rPr lang="en-US" sz="1400" dirty="0">
                  <a:solidFill>
                    <a:srgbClr val="6B6B6B"/>
                  </a:solidFill>
                </a:rPr>
                <a:t>Funny Post </a:t>
              </a:r>
              <a:r>
                <a:rPr lang="en-US" sz="1400" dirty="0">
                  <a:solidFill>
                    <a:srgbClr val="6B6B6B"/>
                  </a:solidFill>
                  <a:sym typeface="Wingdings" pitchFamily="2" charset="2"/>
                </a:rPr>
                <a:t> </a:t>
              </a:r>
              <a:r>
                <a:rPr lang="en-US" sz="1400" dirty="0">
                  <a:solidFill>
                    <a:srgbClr val="6B6B6B"/>
                  </a:solidFill>
                </a:rPr>
                <a:t>more people to the website</a:t>
              </a:r>
            </a:p>
          </p:txBody>
        </p:sp>
        <p:sp>
          <p:nvSpPr>
            <p:cNvPr id="52" name="TextBox 51">
              <a:extLst>
                <a:ext uri="{FF2B5EF4-FFF2-40B4-BE49-F238E27FC236}">
                  <a16:creationId xmlns:a16="http://schemas.microsoft.com/office/drawing/2014/main" id="{9936E43F-75E7-4E88-8A54-CF35E459CA7E}"/>
                </a:ext>
              </a:extLst>
            </p:cNvPr>
            <p:cNvSpPr txBox="1"/>
            <p:nvPr/>
          </p:nvSpPr>
          <p:spPr>
            <a:xfrm>
              <a:off x="5255192" y="3206632"/>
              <a:ext cx="3284614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just"/>
              <a:r>
                <a:rPr lang="en-US" sz="1400" dirty="0">
                  <a:solidFill>
                    <a:srgbClr val="6B6B6B"/>
                  </a:solidFill>
                </a:rPr>
                <a:t>Add button ‘cool’ posting </a:t>
              </a:r>
              <a:r>
                <a:rPr lang="en-US" sz="1400" dirty="0">
                  <a:solidFill>
                    <a:srgbClr val="6B6B6B"/>
                  </a:solidFill>
                  <a:sym typeface="Wingdings" pitchFamily="2" charset="2"/>
                </a:rPr>
                <a:t></a:t>
              </a:r>
              <a:r>
                <a:rPr lang="en-US" sz="1400" dirty="0">
                  <a:solidFill>
                    <a:srgbClr val="6B6B6B"/>
                  </a:solidFill>
                </a:rPr>
                <a:t> increases user spend time</a:t>
              </a:r>
            </a:p>
          </p:txBody>
        </p:sp>
      </p:grpSp>
      <p:sp>
        <p:nvSpPr>
          <p:cNvPr id="32" name="TextBox 31">
            <a:extLst>
              <a:ext uri="{FF2B5EF4-FFF2-40B4-BE49-F238E27FC236}">
                <a16:creationId xmlns:a16="http://schemas.microsoft.com/office/drawing/2014/main" id="{C73CCD0F-E226-48CE-ABED-4438855A52BD}"/>
              </a:ext>
            </a:extLst>
          </p:cNvPr>
          <p:cNvSpPr txBox="1"/>
          <p:nvPr/>
        </p:nvSpPr>
        <p:spPr>
          <a:xfrm>
            <a:off x="735304" y="5225783"/>
            <a:ext cx="11213552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2000" dirty="0">
                <a:latin typeface="Avenir Next LT Pro Light" panose="020B0304020202020204" pitchFamily="34" charset="0"/>
              </a:rPr>
              <a:t>Our model can be used to generate </a:t>
            </a:r>
          </a:p>
          <a:p>
            <a:pPr algn="r"/>
            <a:r>
              <a:rPr lang="en-US" sz="2400" b="1" dirty="0">
                <a:solidFill>
                  <a:schemeClr val="accent2"/>
                </a:solidFill>
                <a:latin typeface="Avenir Next LT Pro Light" panose="020B0304020202020204" pitchFamily="34" charset="0"/>
              </a:rPr>
              <a:t>personalized recommendations </a:t>
            </a:r>
            <a:endParaRPr lang="en-US" sz="2000" b="1" dirty="0">
              <a:solidFill>
                <a:schemeClr val="accent2"/>
              </a:solidFill>
              <a:latin typeface="Avenir Next LT Pro Light" panose="020B0304020202020204" pitchFamily="34" charset="0"/>
            </a:endParaRPr>
          </a:p>
          <a:p>
            <a:pPr algn="r"/>
            <a:r>
              <a:rPr lang="en-US" sz="2000" dirty="0">
                <a:latin typeface="Avenir Next LT Pro Light" panose="020B0304020202020204" pitchFamily="34" charset="0"/>
              </a:rPr>
              <a:t>when trained on data of posts visited by any user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BC1BD675-17B7-48CC-95F0-9CBC4B4C1E81}"/>
              </a:ext>
            </a:extLst>
          </p:cNvPr>
          <p:cNvSpPr txBox="1"/>
          <p:nvPr/>
        </p:nvSpPr>
        <p:spPr>
          <a:xfrm>
            <a:off x="353018" y="1539621"/>
            <a:ext cx="5901744" cy="80945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0" defTabSz="533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2000" dirty="0">
                <a:latin typeface="Avenir Next LT Pro Light" panose="020B0304020202020204" pitchFamily="34" charset="0"/>
              </a:rPr>
              <a:t>In the future, if craigslist decides to show ads, the </a:t>
            </a:r>
          </a:p>
          <a:p>
            <a:pPr lvl="0" defTabSz="533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2000" dirty="0">
                <a:latin typeface="Avenir Next LT Pro Light" panose="020B0304020202020204" pitchFamily="34" charset="0"/>
              </a:rPr>
              <a:t>website could earn </a:t>
            </a:r>
            <a:r>
              <a:rPr lang="en-US" sz="2400" b="1" dirty="0">
                <a:solidFill>
                  <a:schemeClr val="accent2"/>
                </a:solidFill>
                <a:latin typeface="Avenir Next LT Pro Light" panose="020B0304020202020204" pitchFamily="34" charset="0"/>
              </a:rPr>
              <a:t>$150mn</a:t>
            </a:r>
            <a:r>
              <a:rPr lang="en-US" sz="2400" b="1" baseline="30000" dirty="0">
                <a:solidFill>
                  <a:schemeClr val="accent2"/>
                </a:solidFill>
                <a:latin typeface="Avenir Next LT Pro Light" panose="020B0304020202020204" pitchFamily="34" charset="0"/>
              </a:rPr>
              <a:t>1</a:t>
            </a:r>
            <a:r>
              <a:rPr lang="en-US" sz="2000" dirty="0">
                <a:solidFill>
                  <a:schemeClr val="accent2"/>
                </a:solidFill>
                <a:latin typeface="Avenir Next LT Pro Light" panose="020B0304020202020204" pitchFamily="34" charset="0"/>
              </a:rPr>
              <a:t> </a:t>
            </a:r>
            <a:r>
              <a:rPr lang="en-US" sz="2000" dirty="0">
                <a:latin typeface="Avenir Next LT Pro Light" panose="020B0304020202020204" pitchFamily="34" charset="0"/>
              </a:rPr>
              <a:t>in revenue.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6AE605B-98D5-4F1D-B691-3A52D089BDE5}"/>
              </a:ext>
            </a:extLst>
          </p:cNvPr>
          <p:cNvSpPr txBox="1"/>
          <p:nvPr/>
        </p:nvSpPr>
        <p:spPr>
          <a:xfrm>
            <a:off x="10128344" y="6642556"/>
            <a:ext cx="2141933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dirty="0"/>
              <a:t>1 - </a:t>
            </a:r>
            <a:r>
              <a:rPr lang="en-US" sz="800" dirty="0">
                <a:hlinkClick r:id="rId10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rank2traffic.com/craigslist.org</a:t>
            </a:r>
            <a:endParaRPr lang="en-US" sz="800" dirty="0"/>
          </a:p>
        </p:txBody>
      </p:sp>
    </p:spTree>
    <p:extLst>
      <p:ext uri="{BB962C8B-B14F-4D97-AF65-F5344CB8AC3E}">
        <p14:creationId xmlns:p14="http://schemas.microsoft.com/office/powerpoint/2010/main" val="48024661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2" grpId="0"/>
      <p:bldP spid="33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468" y="265238"/>
          <a:ext cx="1465" cy="146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10" name="Object 9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468" y="265238"/>
                        <a:ext cx="1465" cy="146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>
            <p:custDataLst>
              <p:tags r:id="rId3"/>
            </p:custDataLst>
          </p:nvPr>
        </p:nvSpPr>
        <p:spPr bwMode="auto">
          <a:xfrm>
            <a:off x="1524000" y="263769"/>
            <a:ext cx="146538" cy="146538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914400"/>
            <a:endParaRPr lang="en-US" sz="2000" b="1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0" name="Block Arc 19">
            <a:extLst>
              <a:ext uri="{FF2B5EF4-FFF2-40B4-BE49-F238E27FC236}">
                <a16:creationId xmlns:a16="http://schemas.microsoft.com/office/drawing/2014/main" id="{2AF7F88E-4CC1-D94C-9A06-AA122BE3C566}"/>
              </a:ext>
            </a:extLst>
          </p:cNvPr>
          <p:cNvSpPr/>
          <p:nvPr/>
        </p:nvSpPr>
        <p:spPr>
          <a:xfrm>
            <a:off x="3340442" y="2300655"/>
            <a:ext cx="4942662" cy="4893334"/>
          </a:xfrm>
          <a:prstGeom prst="blockArc">
            <a:avLst/>
          </a:prstGeom>
          <a:solidFill>
            <a:srgbClr val="ED7D31"/>
          </a:solidFill>
          <a:ln>
            <a:noFill/>
          </a:ln>
          <a:effectLst>
            <a:innerShdw blurRad="114300">
              <a:prstClr val="black"/>
            </a:innerShdw>
          </a:effectLst>
          <a:scene3d>
            <a:camera prst="orthographicFront"/>
            <a:lightRig rig="threePt" dir="t"/>
          </a:scene3d>
          <a:sp3d contourW="12700">
            <a:contourClr>
              <a:schemeClr val="bg1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950"/>
            <a:endParaRPr lang="en-US" sz="1463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22" name="Block Arc 21">
            <a:extLst>
              <a:ext uri="{FF2B5EF4-FFF2-40B4-BE49-F238E27FC236}">
                <a16:creationId xmlns:a16="http://schemas.microsoft.com/office/drawing/2014/main" id="{CCA92EA2-1A46-5342-A234-B898ADB764D2}"/>
              </a:ext>
            </a:extLst>
          </p:cNvPr>
          <p:cNvSpPr/>
          <p:nvPr/>
        </p:nvSpPr>
        <p:spPr>
          <a:xfrm>
            <a:off x="3340442" y="2309839"/>
            <a:ext cx="4942662" cy="4893334"/>
          </a:xfrm>
          <a:prstGeom prst="blockArc">
            <a:avLst>
              <a:gd name="adj1" fmla="val 21575443"/>
              <a:gd name="adj2" fmla="val 0"/>
              <a:gd name="adj3" fmla="val 25000"/>
            </a:avLst>
          </a:prstGeom>
          <a:solidFill>
            <a:srgbClr val="014884"/>
          </a:solidFill>
          <a:ln>
            <a:noFill/>
          </a:ln>
          <a:effectLst>
            <a:innerShdw blurRad="114300">
              <a:prstClr val="black"/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950"/>
            <a:endParaRPr lang="en-US" sz="1463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21" name="Freeform 20">
            <a:extLst>
              <a:ext uri="{FF2B5EF4-FFF2-40B4-BE49-F238E27FC236}">
                <a16:creationId xmlns:a16="http://schemas.microsoft.com/office/drawing/2014/main" id="{CAA5FDE6-BFF1-CC47-9544-8FBF73721DB2}"/>
              </a:ext>
            </a:extLst>
          </p:cNvPr>
          <p:cNvSpPr/>
          <p:nvPr/>
        </p:nvSpPr>
        <p:spPr>
          <a:xfrm rot="3123981">
            <a:off x="5605263" y="3311136"/>
            <a:ext cx="1620580" cy="2249355"/>
          </a:xfrm>
          <a:custGeom>
            <a:avLst/>
            <a:gdLst>
              <a:gd name="connsiteX0" fmla="*/ 1079315 w 1079315"/>
              <a:gd name="connsiteY0" fmla="*/ 0 h 1513184"/>
              <a:gd name="connsiteX1" fmla="*/ 610314 w 1079315"/>
              <a:gd name="connsiteY1" fmla="*/ 877178 h 1513184"/>
              <a:gd name="connsiteX2" fmla="*/ 624392 w 1079315"/>
              <a:gd name="connsiteY2" fmla="*/ 888793 h 1513184"/>
              <a:gd name="connsiteX3" fmla="*/ 731520 w 1079315"/>
              <a:gd name="connsiteY3" fmla="*/ 1147424 h 1513184"/>
              <a:gd name="connsiteX4" fmla="*/ 365760 w 1079315"/>
              <a:gd name="connsiteY4" fmla="*/ 1513184 h 1513184"/>
              <a:gd name="connsiteX5" fmla="*/ 0 w 1079315"/>
              <a:gd name="connsiteY5" fmla="*/ 1147424 h 1513184"/>
              <a:gd name="connsiteX6" fmla="*/ 365760 w 1079315"/>
              <a:gd name="connsiteY6" fmla="*/ 781664 h 1513184"/>
              <a:gd name="connsiteX7" fmla="*/ 439474 w 1079315"/>
              <a:gd name="connsiteY7" fmla="*/ 789095 h 1513184"/>
              <a:gd name="connsiteX8" fmla="*/ 498981 w 1079315"/>
              <a:gd name="connsiteY8" fmla="*/ 807567 h 15131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079315" h="1513184">
                <a:moveTo>
                  <a:pt x="1079315" y="0"/>
                </a:moveTo>
                <a:lnTo>
                  <a:pt x="610314" y="877178"/>
                </a:lnTo>
                <a:lnTo>
                  <a:pt x="624392" y="888793"/>
                </a:lnTo>
                <a:cubicBezTo>
                  <a:pt x="690581" y="954982"/>
                  <a:pt x="731520" y="1046422"/>
                  <a:pt x="731520" y="1147424"/>
                </a:cubicBezTo>
                <a:cubicBezTo>
                  <a:pt x="731520" y="1349428"/>
                  <a:pt x="567764" y="1513184"/>
                  <a:pt x="365760" y="1513184"/>
                </a:cubicBezTo>
                <a:cubicBezTo>
                  <a:pt x="163756" y="1513184"/>
                  <a:pt x="0" y="1349428"/>
                  <a:pt x="0" y="1147424"/>
                </a:cubicBezTo>
                <a:cubicBezTo>
                  <a:pt x="0" y="945420"/>
                  <a:pt x="163756" y="781664"/>
                  <a:pt x="365760" y="781664"/>
                </a:cubicBezTo>
                <a:cubicBezTo>
                  <a:pt x="391011" y="781664"/>
                  <a:pt x="415663" y="784223"/>
                  <a:pt x="439474" y="789095"/>
                </a:cubicBezTo>
                <a:lnTo>
                  <a:pt x="498981" y="807567"/>
                </a:lnTo>
                <a:close/>
              </a:path>
            </a:pathLst>
          </a:custGeom>
          <a:solidFill>
            <a:srgbClr val="6B6B6B"/>
          </a:solidFill>
          <a:ln>
            <a:noFill/>
          </a:ln>
          <a:effectLst>
            <a:innerShdw blurRad="63500" dist="50800" dir="13500000">
              <a:prstClr val="black">
                <a:alpha val="50000"/>
              </a:prstClr>
            </a:innerShdw>
          </a:effectLst>
          <a:scene3d>
            <a:camera prst="orthographicFront"/>
            <a:lightRig rig="threePt" dir="t"/>
          </a:scene3d>
          <a:sp3d contourW="12700">
            <a:contourClr>
              <a:schemeClr val="bg1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950"/>
            <a:endParaRPr lang="en-US" sz="1463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9E4B2D9C-CAD8-8D4E-A3DF-A862652FE5BC}"/>
              </a:ext>
            </a:extLst>
          </p:cNvPr>
          <p:cNvSpPr txBox="1"/>
          <p:nvPr/>
        </p:nvSpPr>
        <p:spPr>
          <a:xfrm>
            <a:off x="1280247" y="3734616"/>
            <a:ext cx="3903521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117560"/>
            <a:r>
              <a:rPr lang="en-US" b="1" dirty="0">
                <a:solidFill>
                  <a:srgbClr val="6B6B6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oblem Statement</a:t>
            </a:r>
          </a:p>
          <a:p>
            <a:pPr defTabSz="1117560"/>
            <a:r>
              <a:rPr lang="en-US" b="1" dirty="0">
                <a:solidFill>
                  <a:srgbClr val="6B6B6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and Objectives</a:t>
            </a:r>
          </a:p>
          <a:p>
            <a:pPr defTabSz="1117560"/>
            <a:endParaRPr lang="en-US" b="1" dirty="0">
              <a:solidFill>
                <a:srgbClr val="6B6B6B"/>
              </a:solidFill>
              <a:latin typeface="Roboto Condensed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CAF7CF74-E01F-644C-A1F8-9B4A6987096B}"/>
              </a:ext>
            </a:extLst>
          </p:cNvPr>
          <p:cNvSpPr txBox="1"/>
          <p:nvPr/>
        </p:nvSpPr>
        <p:spPr>
          <a:xfrm>
            <a:off x="5183768" y="1775079"/>
            <a:ext cx="390352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117560"/>
            <a:r>
              <a:rPr lang="en-US" b="1" dirty="0">
                <a:solidFill>
                  <a:srgbClr val="6B6B6B"/>
                </a:solidFill>
                <a:latin typeface="Roboto Condensed"/>
              </a:rPr>
              <a:t>Solution 1</a:t>
            </a:r>
            <a:endParaRPr lang="en-US" sz="2000" b="1" dirty="0">
              <a:solidFill>
                <a:srgbClr val="6B6B6B"/>
              </a:solidFill>
              <a:latin typeface="Roboto Condensed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244C9E0A-BCC2-C846-A206-7B7995B061FD}"/>
              </a:ext>
            </a:extLst>
          </p:cNvPr>
          <p:cNvSpPr txBox="1"/>
          <p:nvPr/>
        </p:nvSpPr>
        <p:spPr>
          <a:xfrm>
            <a:off x="2427822" y="2356615"/>
            <a:ext cx="390352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117560"/>
            <a:r>
              <a:rPr lang="en-US" b="1" dirty="0">
                <a:solidFill>
                  <a:srgbClr val="6B6B6B"/>
                </a:solidFill>
                <a:latin typeface="Roboto Condensed"/>
              </a:rPr>
              <a:t>Recommendation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5E5F34FA-2437-3B40-AB61-B88DFF43745A}"/>
              </a:ext>
            </a:extLst>
          </p:cNvPr>
          <p:cNvSpPr txBox="1"/>
          <p:nvPr/>
        </p:nvSpPr>
        <p:spPr>
          <a:xfrm>
            <a:off x="8391538" y="4009100"/>
            <a:ext cx="390352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117560"/>
            <a:r>
              <a:rPr lang="en-US" b="1" dirty="0">
                <a:solidFill>
                  <a:srgbClr val="6B6B6B"/>
                </a:solidFill>
                <a:latin typeface="Roboto Condensed"/>
              </a:rPr>
              <a:t>Timeline and Risk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1A33538A-B5D0-2B47-822B-9F0E09F6EFE0}"/>
              </a:ext>
            </a:extLst>
          </p:cNvPr>
          <p:cNvSpPr txBox="1"/>
          <p:nvPr/>
        </p:nvSpPr>
        <p:spPr>
          <a:xfrm>
            <a:off x="7528006" y="2356615"/>
            <a:ext cx="390352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117560"/>
            <a:r>
              <a:rPr lang="en-US" b="1" dirty="0">
                <a:solidFill>
                  <a:srgbClr val="6B6B6B"/>
                </a:solidFill>
                <a:latin typeface="Roboto Condensed"/>
              </a:rPr>
              <a:t>Solution 2</a:t>
            </a:r>
            <a:endParaRPr lang="en-US" sz="2000" b="1" dirty="0">
              <a:solidFill>
                <a:srgbClr val="6B6B6B"/>
              </a:solidFill>
              <a:latin typeface="Roboto Condensed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40ACD51D-DA52-4844-AF88-925D4CD8D1DA}"/>
              </a:ext>
            </a:extLst>
          </p:cNvPr>
          <p:cNvSpPr/>
          <p:nvPr/>
        </p:nvSpPr>
        <p:spPr>
          <a:xfrm>
            <a:off x="0" y="264294"/>
            <a:ext cx="1757680" cy="741204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85BCCBDD-05FA-417F-A781-682DFDC10F4F}"/>
              </a:ext>
            </a:extLst>
          </p:cNvPr>
          <p:cNvSpPr/>
          <p:nvPr/>
        </p:nvSpPr>
        <p:spPr>
          <a:xfrm>
            <a:off x="8575041" y="293170"/>
            <a:ext cx="3616959" cy="741204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62B1C0C1-697C-4690-BBDD-C48D10351786}"/>
              </a:ext>
            </a:extLst>
          </p:cNvPr>
          <p:cNvSpPr/>
          <p:nvPr/>
        </p:nvSpPr>
        <p:spPr>
          <a:xfrm>
            <a:off x="1757681" y="293170"/>
            <a:ext cx="6817360" cy="74120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dirty="0">
                <a:solidFill>
                  <a:schemeClr val="tx1"/>
                </a:solidFill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73433692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>
            <a:extLst>
              <a:ext uri="{FF2B5EF4-FFF2-40B4-BE49-F238E27FC236}">
                <a16:creationId xmlns:a16="http://schemas.microsoft.com/office/drawing/2014/main" id="{02B9E293-F336-4D31-9FB7-A65DF4D5E85C}"/>
              </a:ext>
            </a:extLst>
          </p:cNvPr>
          <p:cNvGrpSpPr/>
          <p:nvPr/>
        </p:nvGrpSpPr>
        <p:grpSpPr>
          <a:xfrm>
            <a:off x="4212260" y="3109346"/>
            <a:ext cx="3512024" cy="2640989"/>
            <a:chOff x="4212260" y="3109346"/>
            <a:chExt cx="3512024" cy="2640989"/>
          </a:xfrm>
        </p:grpSpPr>
        <p:graphicFrame>
          <p:nvGraphicFramePr>
            <p:cNvPr id="72" name="Chart 71">
              <a:extLst>
                <a:ext uri="{FF2B5EF4-FFF2-40B4-BE49-F238E27FC236}">
                  <a16:creationId xmlns:a16="http://schemas.microsoft.com/office/drawing/2014/main" id="{3C316A8A-9A34-8F46-985F-2080C8071953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2551573941"/>
                </p:ext>
              </p:extLst>
            </p:nvPr>
          </p:nvGraphicFramePr>
          <p:xfrm>
            <a:off x="4212260" y="3109346"/>
            <a:ext cx="3512024" cy="2640989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  <p:pic>
          <p:nvPicPr>
            <p:cNvPr id="92" name="Graphic 91" descr="Database">
              <a:extLst>
                <a:ext uri="{FF2B5EF4-FFF2-40B4-BE49-F238E27FC236}">
                  <a16:creationId xmlns:a16="http://schemas.microsoft.com/office/drawing/2014/main" id="{9CE716CB-4B64-FF43-9119-A3D742E7F70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5511072" y="3939057"/>
              <a:ext cx="914400" cy="914400"/>
            </a:xfrm>
            <a:prstGeom prst="rect">
              <a:avLst/>
            </a:prstGeom>
          </p:spPr>
        </p:pic>
      </p:grpSp>
      <p:sp>
        <p:nvSpPr>
          <p:cNvPr id="26" name="Rectangle 25">
            <a:extLst>
              <a:ext uri="{FF2B5EF4-FFF2-40B4-BE49-F238E27FC236}">
                <a16:creationId xmlns:a16="http://schemas.microsoft.com/office/drawing/2014/main" id="{AAFC420C-3A5D-4789-A697-DC3BBD29CEE3}"/>
              </a:ext>
            </a:extLst>
          </p:cNvPr>
          <p:cNvSpPr/>
          <p:nvPr/>
        </p:nvSpPr>
        <p:spPr>
          <a:xfrm>
            <a:off x="0" y="264294"/>
            <a:ext cx="1757680" cy="741204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C98781B0-9064-46C2-8497-AAAE84DCA1CC}"/>
              </a:ext>
            </a:extLst>
          </p:cNvPr>
          <p:cNvSpPr/>
          <p:nvPr/>
        </p:nvSpPr>
        <p:spPr>
          <a:xfrm>
            <a:off x="8575041" y="293170"/>
            <a:ext cx="3616959" cy="741204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2B495259-37AB-4B6D-BD31-B118894F75D0}"/>
              </a:ext>
            </a:extLst>
          </p:cNvPr>
          <p:cNvSpPr/>
          <p:nvPr/>
        </p:nvSpPr>
        <p:spPr>
          <a:xfrm>
            <a:off x="1757681" y="293170"/>
            <a:ext cx="6817360" cy="74120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>
                <a:solidFill>
                  <a:schemeClr val="tx1"/>
                </a:solidFill>
              </a:rPr>
              <a:t>Project Execution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223EF911-2241-4D34-8C8F-5880D409D1AB}"/>
              </a:ext>
            </a:extLst>
          </p:cNvPr>
          <p:cNvGrpSpPr/>
          <p:nvPr/>
        </p:nvGrpSpPr>
        <p:grpSpPr>
          <a:xfrm>
            <a:off x="2343989" y="1310265"/>
            <a:ext cx="3254185" cy="1263921"/>
            <a:chOff x="3744185" y="1113386"/>
            <a:chExt cx="3921478" cy="1263921"/>
          </a:xfrm>
        </p:grpSpPr>
        <p:sp>
          <p:nvSpPr>
            <p:cNvPr id="82" name="Rounded Rectangle 84">
              <a:extLst>
                <a:ext uri="{FF2B5EF4-FFF2-40B4-BE49-F238E27FC236}">
                  <a16:creationId xmlns:a16="http://schemas.microsoft.com/office/drawing/2014/main" id="{DBBD54F7-336F-CB44-9184-BC516B59C81C}"/>
                </a:ext>
              </a:extLst>
            </p:cNvPr>
            <p:cNvSpPr/>
            <p:nvPr/>
          </p:nvSpPr>
          <p:spPr>
            <a:xfrm>
              <a:off x="3744185" y="1113386"/>
              <a:ext cx="3768513" cy="1263921"/>
            </a:xfrm>
            <a:prstGeom prst="roundRect">
              <a:avLst>
                <a:gd name="adj" fmla="val 10178"/>
              </a:avLst>
            </a:prstGeom>
            <a:solidFill>
              <a:schemeClr val="accent2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>
              <a:noAutofit/>
            </a:bodyPr>
            <a:lstStyle/>
            <a:p>
              <a:pPr algn="ctr"/>
              <a:endParaRPr lang="en-US" sz="1400" err="1">
                <a:solidFill>
                  <a:schemeClr val="tx2"/>
                </a:solidFill>
              </a:endParaRPr>
            </a:p>
          </p:txBody>
        </p:sp>
        <p:sp>
          <p:nvSpPr>
            <p:cNvPr id="83" name="Rectangle 82">
              <a:extLst>
                <a:ext uri="{FF2B5EF4-FFF2-40B4-BE49-F238E27FC236}">
                  <a16:creationId xmlns:a16="http://schemas.microsoft.com/office/drawing/2014/main" id="{363AEEDB-ACFF-2543-BA9C-B8DA8F226C5E}"/>
                </a:ext>
              </a:extLst>
            </p:cNvPr>
            <p:cNvSpPr/>
            <p:nvPr/>
          </p:nvSpPr>
          <p:spPr>
            <a:xfrm>
              <a:off x="3897150" y="1161552"/>
              <a:ext cx="3768513" cy="1210083"/>
            </a:xfrm>
            <a:prstGeom prst="rect">
              <a:avLst/>
            </a:prstGeom>
          </p:spPr>
          <p:txBody>
            <a:bodyPr wrap="square" lIns="0" tIns="0" rIns="0" bIns="0">
              <a:noAutofit/>
            </a:bodyPr>
            <a:lstStyle/>
            <a:p>
              <a:pPr>
                <a:spcAft>
                  <a:spcPts val="600"/>
                </a:spcAft>
              </a:pPr>
              <a:r>
                <a:rPr lang="en-US" sz="1600" b="1" dirty="0">
                  <a:solidFill>
                    <a:schemeClr val="bg1"/>
                  </a:solidFill>
                </a:rPr>
                <a:t>PROCESSES</a:t>
              </a:r>
            </a:p>
            <a:p>
              <a:pPr marL="285750" indent="-285750"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r>
                <a:rPr lang="en-US" sz="1600" dirty="0">
                  <a:solidFill>
                    <a:schemeClr val="bg1"/>
                  </a:solidFill>
                </a:rPr>
                <a:t>Amusing post recommender</a:t>
              </a:r>
            </a:p>
            <a:p>
              <a:pPr marL="285750" indent="-285750"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r>
                <a:rPr lang="en-US" sz="1600" dirty="0">
                  <a:solidFill>
                    <a:schemeClr val="bg1"/>
                  </a:solidFill>
                </a:rPr>
                <a:t>Mature content filter across website</a:t>
              </a:r>
            </a:p>
            <a:p>
              <a:pPr marL="285750" indent="-285750"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endParaRPr lang="en-US" sz="1600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AF4F4720-EB01-4CBA-89A7-9917E6B04A2D}"/>
              </a:ext>
            </a:extLst>
          </p:cNvPr>
          <p:cNvGrpSpPr/>
          <p:nvPr/>
        </p:nvGrpSpPr>
        <p:grpSpPr>
          <a:xfrm>
            <a:off x="974084" y="5082503"/>
            <a:ext cx="3200400" cy="1483362"/>
            <a:chOff x="1056123" y="4702845"/>
            <a:chExt cx="2834640" cy="1729821"/>
          </a:xfrm>
        </p:grpSpPr>
        <p:sp>
          <p:nvSpPr>
            <p:cNvPr id="84" name="Rounded Rectangle 86">
              <a:extLst>
                <a:ext uri="{FF2B5EF4-FFF2-40B4-BE49-F238E27FC236}">
                  <a16:creationId xmlns:a16="http://schemas.microsoft.com/office/drawing/2014/main" id="{CE68B673-80E5-0A43-B65D-3C88C2662DF7}"/>
                </a:ext>
              </a:extLst>
            </p:cNvPr>
            <p:cNvSpPr/>
            <p:nvPr/>
          </p:nvSpPr>
          <p:spPr>
            <a:xfrm>
              <a:off x="1056123" y="4702845"/>
              <a:ext cx="2834640" cy="1729821"/>
            </a:xfrm>
            <a:prstGeom prst="roundRect">
              <a:avLst>
                <a:gd name="adj" fmla="val 10178"/>
              </a:avLst>
            </a:prstGeom>
            <a:solidFill>
              <a:schemeClr val="tx2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>
              <a:noAutofit/>
            </a:bodyPr>
            <a:lstStyle/>
            <a:p>
              <a:pPr algn="ctr"/>
              <a:endParaRPr lang="en-US" sz="1400" err="1">
                <a:solidFill>
                  <a:schemeClr val="tx2"/>
                </a:solidFill>
              </a:endParaRPr>
            </a:p>
          </p:txBody>
        </p:sp>
        <p:sp>
          <p:nvSpPr>
            <p:cNvPr id="86" name="Rectangle 85">
              <a:extLst>
                <a:ext uri="{FF2B5EF4-FFF2-40B4-BE49-F238E27FC236}">
                  <a16:creationId xmlns:a16="http://schemas.microsoft.com/office/drawing/2014/main" id="{08D4B8DF-B9DF-8547-AF69-0105AF4422B4}"/>
                </a:ext>
              </a:extLst>
            </p:cNvPr>
            <p:cNvSpPr/>
            <p:nvPr/>
          </p:nvSpPr>
          <p:spPr>
            <a:xfrm>
              <a:off x="1123308" y="4760613"/>
              <a:ext cx="2743200" cy="1665783"/>
            </a:xfrm>
            <a:prstGeom prst="rect">
              <a:avLst/>
            </a:prstGeom>
          </p:spPr>
          <p:txBody>
            <a:bodyPr wrap="square" lIns="0" tIns="0" rIns="0" bIns="0">
              <a:noAutofit/>
            </a:bodyPr>
            <a:lstStyle/>
            <a:p>
              <a:pPr>
                <a:spcAft>
                  <a:spcPts val="600"/>
                </a:spcAft>
              </a:pPr>
              <a:r>
                <a:rPr lang="en-US" sz="1600" b="1" dirty="0">
                  <a:solidFill>
                    <a:schemeClr val="bg1"/>
                  </a:solidFill>
                </a:rPr>
                <a:t>PEOPLE</a:t>
              </a:r>
            </a:p>
            <a:p>
              <a:pPr marL="285750" indent="-285750"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r>
                <a:rPr lang="en-US" sz="1600" dirty="0">
                  <a:solidFill>
                    <a:schemeClr val="bg1"/>
                  </a:solidFill>
                </a:rPr>
                <a:t>Website design to reduce confusion</a:t>
              </a:r>
            </a:p>
            <a:p>
              <a:pPr marL="285750" indent="-285750"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r>
                <a:rPr lang="en-US" sz="1600" dirty="0">
                  <a:solidFill>
                    <a:schemeClr val="bg1"/>
                  </a:solidFill>
                </a:rPr>
                <a:t>New feature to retain users for longer</a:t>
              </a:r>
            </a:p>
          </p:txBody>
        </p: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C76C8AD6-A1FB-4A4C-8278-8310AE490317}"/>
              </a:ext>
            </a:extLst>
          </p:cNvPr>
          <p:cNvGrpSpPr/>
          <p:nvPr/>
        </p:nvGrpSpPr>
        <p:grpSpPr>
          <a:xfrm>
            <a:off x="7636169" y="5082156"/>
            <a:ext cx="3343529" cy="1689721"/>
            <a:chOff x="7636169" y="4665299"/>
            <a:chExt cx="3343529" cy="1689721"/>
          </a:xfrm>
        </p:grpSpPr>
        <p:sp>
          <p:nvSpPr>
            <p:cNvPr id="85" name="Rounded Rectangle 88">
              <a:extLst>
                <a:ext uri="{FF2B5EF4-FFF2-40B4-BE49-F238E27FC236}">
                  <a16:creationId xmlns:a16="http://schemas.microsoft.com/office/drawing/2014/main" id="{DB80FD01-4FD3-E746-BD5D-31410FA60E54}"/>
                </a:ext>
              </a:extLst>
            </p:cNvPr>
            <p:cNvSpPr/>
            <p:nvPr/>
          </p:nvSpPr>
          <p:spPr>
            <a:xfrm>
              <a:off x="7636169" y="4665299"/>
              <a:ext cx="3200400" cy="1325880"/>
            </a:xfrm>
            <a:prstGeom prst="roundRect">
              <a:avLst>
                <a:gd name="adj" fmla="val 10178"/>
              </a:avLst>
            </a:prstGeom>
            <a:solidFill>
              <a:srgbClr val="A6A6A6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>
              <a:noAutofit/>
            </a:bodyPr>
            <a:lstStyle/>
            <a:p>
              <a:pPr algn="ctr"/>
              <a:endParaRPr lang="en-US" sz="1400" err="1">
                <a:solidFill>
                  <a:schemeClr val="tx2"/>
                </a:solidFill>
              </a:endParaRPr>
            </a:p>
          </p:txBody>
        </p:sp>
        <p:sp>
          <p:nvSpPr>
            <p:cNvPr id="87" name="Rectangle 86">
              <a:extLst>
                <a:ext uri="{FF2B5EF4-FFF2-40B4-BE49-F238E27FC236}">
                  <a16:creationId xmlns:a16="http://schemas.microsoft.com/office/drawing/2014/main" id="{B1D2B1D6-FB2B-5341-B73D-2BE6C4933EB7}"/>
                </a:ext>
              </a:extLst>
            </p:cNvPr>
            <p:cNvSpPr/>
            <p:nvPr/>
          </p:nvSpPr>
          <p:spPr>
            <a:xfrm>
              <a:off x="7681889" y="4759506"/>
              <a:ext cx="3297809" cy="1595514"/>
            </a:xfrm>
            <a:prstGeom prst="rect">
              <a:avLst/>
            </a:prstGeom>
          </p:spPr>
          <p:txBody>
            <a:bodyPr wrap="square" lIns="0" tIns="0" rIns="0" bIns="0">
              <a:noAutofit/>
            </a:bodyPr>
            <a:lstStyle/>
            <a:p>
              <a:pPr>
                <a:spcAft>
                  <a:spcPts val="600"/>
                </a:spcAft>
              </a:pPr>
              <a:r>
                <a:rPr lang="en-US" sz="1600" b="1" dirty="0">
                  <a:solidFill>
                    <a:schemeClr val="bg1"/>
                  </a:solidFill>
                </a:rPr>
                <a:t>TECHNOLOGY</a:t>
              </a:r>
            </a:p>
            <a:p>
              <a:pPr marL="285750" indent="-285750"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r>
                <a:rPr lang="en-US" sz="1600" dirty="0">
                  <a:solidFill>
                    <a:schemeClr val="bg1"/>
                  </a:solidFill>
                </a:rPr>
                <a:t>Machine learning models to learn what makes a post go viral</a:t>
              </a:r>
            </a:p>
            <a:p>
              <a:pPr marL="285750" indent="-285750"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r>
                <a:rPr lang="en-US" sz="1600" dirty="0">
                  <a:solidFill>
                    <a:schemeClr val="bg1"/>
                  </a:solidFill>
                </a:rPr>
                <a:t>NLP to identify mature content</a:t>
              </a:r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7D4CE325-16F4-418C-B4B7-244C19C62A55}"/>
              </a:ext>
            </a:extLst>
          </p:cNvPr>
          <p:cNvGrpSpPr/>
          <p:nvPr/>
        </p:nvGrpSpPr>
        <p:grpSpPr>
          <a:xfrm>
            <a:off x="5462663" y="2778548"/>
            <a:ext cx="822960" cy="822960"/>
            <a:chOff x="5462663" y="2778548"/>
            <a:chExt cx="822960" cy="822960"/>
          </a:xfrm>
        </p:grpSpPr>
        <p:grpSp>
          <p:nvGrpSpPr>
            <p:cNvPr id="73" name="Group 72">
              <a:extLst>
                <a:ext uri="{FF2B5EF4-FFF2-40B4-BE49-F238E27FC236}">
                  <a16:creationId xmlns:a16="http://schemas.microsoft.com/office/drawing/2014/main" id="{9103A158-6A57-FB42-85F0-DE5B28ABF5CC}"/>
                </a:ext>
              </a:extLst>
            </p:cNvPr>
            <p:cNvGrpSpPr>
              <a:grpSpLocks noChangeAspect="1"/>
            </p:cNvGrpSpPr>
            <p:nvPr/>
          </p:nvGrpSpPr>
          <p:grpSpPr>
            <a:xfrm rot="16842804">
              <a:off x="5462663" y="2778548"/>
              <a:ext cx="822960" cy="822960"/>
              <a:chOff x="7606853" y="246063"/>
              <a:chExt cx="896937" cy="896937"/>
            </a:xfrm>
            <a:solidFill>
              <a:schemeClr val="accent2"/>
            </a:solidFill>
          </p:grpSpPr>
          <p:sp>
            <p:nvSpPr>
              <p:cNvPr id="74" name="Teardrop 73">
                <a:extLst>
                  <a:ext uri="{FF2B5EF4-FFF2-40B4-BE49-F238E27FC236}">
                    <a16:creationId xmlns:a16="http://schemas.microsoft.com/office/drawing/2014/main" id="{C2423336-6BD6-5747-9D54-4FE5D201BBD6}"/>
                  </a:ext>
                </a:extLst>
              </p:cNvPr>
              <p:cNvSpPr/>
              <p:nvPr/>
            </p:nvSpPr>
            <p:spPr>
              <a:xfrm>
                <a:off x="7606853" y="246063"/>
                <a:ext cx="896937" cy="896937"/>
              </a:xfrm>
              <a:prstGeom prst="teardrop">
                <a:avLst/>
              </a:prstGeom>
              <a:grpFill/>
              <a:ln w="12700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endParaRPr lang="en-US" sz="2000" kern="0" err="1">
                  <a:solidFill>
                    <a:srgbClr val="FFFFFF"/>
                  </a:solidFill>
                  <a:latin typeface="Arial"/>
                </a:endParaRPr>
              </a:p>
            </p:txBody>
          </p:sp>
          <p:sp>
            <p:nvSpPr>
              <p:cNvPr id="75" name="Oval 74">
                <a:extLst>
                  <a:ext uri="{FF2B5EF4-FFF2-40B4-BE49-F238E27FC236}">
                    <a16:creationId xmlns:a16="http://schemas.microsoft.com/office/drawing/2014/main" id="{2628FABC-331B-3340-B026-7552B5F28966}"/>
                  </a:ext>
                </a:extLst>
              </p:cNvPr>
              <p:cNvSpPr/>
              <p:nvPr/>
            </p:nvSpPr>
            <p:spPr>
              <a:xfrm>
                <a:off x="7647293" y="280458"/>
                <a:ext cx="822602" cy="822602"/>
              </a:xfrm>
              <a:prstGeom prst="ellipse">
                <a:avLst/>
              </a:prstGeom>
              <a:grpFill/>
              <a:ln w="12700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endParaRPr lang="en-US" sz="2000" kern="0" err="1">
                  <a:solidFill>
                    <a:srgbClr val="FFFFFF"/>
                  </a:solidFill>
                  <a:latin typeface="Arial"/>
                </a:endParaRPr>
              </a:p>
            </p:txBody>
          </p:sp>
        </p:grpSp>
        <p:pic>
          <p:nvPicPr>
            <p:cNvPr id="88" name="Graphic 87" descr="Circles with arrows">
              <a:extLst>
                <a:ext uri="{FF2B5EF4-FFF2-40B4-BE49-F238E27FC236}">
                  <a16:creationId xmlns:a16="http://schemas.microsoft.com/office/drawing/2014/main" id="{C5F381C3-D123-BC42-9E8B-310A5B0B581B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5593902" y="2925032"/>
              <a:ext cx="567772" cy="567772"/>
            </a:xfrm>
            <a:prstGeom prst="rect">
              <a:avLst/>
            </a:prstGeom>
          </p:spPr>
        </p:pic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D3246382-22E8-4D79-9C58-4B9AF30AFF30}"/>
              </a:ext>
            </a:extLst>
          </p:cNvPr>
          <p:cNvGrpSpPr/>
          <p:nvPr/>
        </p:nvGrpSpPr>
        <p:grpSpPr>
          <a:xfrm>
            <a:off x="6602641" y="4720139"/>
            <a:ext cx="822960" cy="822960"/>
            <a:chOff x="6602641" y="4720139"/>
            <a:chExt cx="822960" cy="822960"/>
          </a:xfrm>
        </p:grpSpPr>
        <p:grpSp>
          <p:nvGrpSpPr>
            <p:cNvPr id="79" name="Group 78">
              <a:extLst>
                <a:ext uri="{FF2B5EF4-FFF2-40B4-BE49-F238E27FC236}">
                  <a16:creationId xmlns:a16="http://schemas.microsoft.com/office/drawing/2014/main" id="{C5639145-FABF-F84C-B416-47F60A6DE045}"/>
                </a:ext>
              </a:extLst>
            </p:cNvPr>
            <p:cNvGrpSpPr>
              <a:grpSpLocks noChangeAspect="1"/>
            </p:cNvGrpSpPr>
            <p:nvPr/>
          </p:nvGrpSpPr>
          <p:grpSpPr>
            <a:xfrm rot="4776862">
              <a:off x="6602641" y="4720139"/>
              <a:ext cx="822960" cy="822960"/>
              <a:chOff x="7606853" y="246063"/>
              <a:chExt cx="896937" cy="896937"/>
            </a:xfrm>
            <a:solidFill>
              <a:srgbClr val="A6A6A6"/>
            </a:solidFill>
          </p:grpSpPr>
          <p:sp>
            <p:nvSpPr>
              <p:cNvPr id="80" name="Teardrop 79">
                <a:extLst>
                  <a:ext uri="{FF2B5EF4-FFF2-40B4-BE49-F238E27FC236}">
                    <a16:creationId xmlns:a16="http://schemas.microsoft.com/office/drawing/2014/main" id="{9D0D6952-A4C4-7747-8897-5AE8F5832CE4}"/>
                  </a:ext>
                </a:extLst>
              </p:cNvPr>
              <p:cNvSpPr/>
              <p:nvPr/>
            </p:nvSpPr>
            <p:spPr>
              <a:xfrm>
                <a:off x="7606853" y="246063"/>
                <a:ext cx="896937" cy="896937"/>
              </a:xfrm>
              <a:prstGeom prst="teardrop">
                <a:avLst/>
              </a:prstGeom>
              <a:grpFill/>
              <a:ln w="12700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endParaRPr lang="en-US" sz="2000" kern="0" err="1">
                  <a:solidFill>
                    <a:srgbClr val="FFFFFF"/>
                  </a:solidFill>
                  <a:latin typeface="Arial"/>
                </a:endParaRPr>
              </a:p>
            </p:txBody>
          </p:sp>
          <p:sp>
            <p:nvSpPr>
              <p:cNvPr id="81" name="Oval 80">
                <a:extLst>
                  <a:ext uri="{FF2B5EF4-FFF2-40B4-BE49-F238E27FC236}">
                    <a16:creationId xmlns:a16="http://schemas.microsoft.com/office/drawing/2014/main" id="{1D2B55B3-BDBF-BD41-945F-E77320B3C297}"/>
                  </a:ext>
                </a:extLst>
              </p:cNvPr>
              <p:cNvSpPr/>
              <p:nvPr/>
            </p:nvSpPr>
            <p:spPr>
              <a:xfrm>
                <a:off x="7647293" y="280458"/>
                <a:ext cx="822602" cy="822602"/>
              </a:xfrm>
              <a:prstGeom prst="ellipse">
                <a:avLst/>
              </a:prstGeom>
              <a:grpFill/>
              <a:ln w="12700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endParaRPr lang="en-US" sz="2000" kern="0" err="1">
                  <a:solidFill>
                    <a:srgbClr val="FFFFFF"/>
                  </a:solidFill>
                  <a:latin typeface="Arial"/>
                </a:endParaRPr>
              </a:p>
            </p:txBody>
          </p:sp>
        </p:grpSp>
        <p:pic>
          <p:nvPicPr>
            <p:cNvPr id="89" name="Graphic 88" descr="Research">
              <a:extLst>
                <a:ext uri="{FF2B5EF4-FFF2-40B4-BE49-F238E27FC236}">
                  <a16:creationId xmlns:a16="http://schemas.microsoft.com/office/drawing/2014/main" id="{5CAAF0FD-AF78-CF40-B10A-AF6771E35EFA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6754123" y="4864630"/>
              <a:ext cx="516155" cy="516155"/>
            </a:xfrm>
            <a:prstGeom prst="rect">
              <a:avLst/>
            </a:prstGeom>
          </p:spPr>
        </p:pic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C7E989F3-1D46-42AB-8046-971C592BCA69}"/>
              </a:ext>
            </a:extLst>
          </p:cNvPr>
          <p:cNvGrpSpPr/>
          <p:nvPr/>
        </p:nvGrpSpPr>
        <p:grpSpPr>
          <a:xfrm>
            <a:off x="4470913" y="4667747"/>
            <a:ext cx="822960" cy="822960"/>
            <a:chOff x="4132451" y="4842740"/>
            <a:chExt cx="822960" cy="822960"/>
          </a:xfrm>
        </p:grpSpPr>
        <p:grpSp>
          <p:nvGrpSpPr>
            <p:cNvPr id="76" name="Group 75">
              <a:extLst>
                <a:ext uri="{FF2B5EF4-FFF2-40B4-BE49-F238E27FC236}">
                  <a16:creationId xmlns:a16="http://schemas.microsoft.com/office/drawing/2014/main" id="{FBDCB579-2EA9-B741-99C8-2C0CB6718AEE}"/>
                </a:ext>
              </a:extLst>
            </p:cNvPr>
            <p:cNvGrpSpPr>
              <a:grpSpLocks noChangeAspect="1"/>
            </p:cNvGrpSpPr>
            <p:nvPr/>
          </p:nvGrpSpPr>
          <p:grpSpPr>
            <a:xfrm rot="11700000">
              <a:off x="4132451" y="4842740"/>
              <a:ext cx="822960" cy="822960"/>
              <a:chOff x="7606853" y="246063"/>
              <a:chExt cx="896937" cy="896937"/>
            </a:xfrm>
            <a:solidFill>
              <a:schemeClr val="tx2">
                <a:alpha val="50196"/>
              </a:schemeClr>
            </a:solidFill>
          </p:grpSpPr>
          <p:sp>
            <p:nvSpPr>
              <p:cNvPr id="77" name="Teardrop 76">
                <a:extLst>
                  <a:ext uri="{FF2B5EF4-FFF2-40B4-BE49-F238E27FC236}">
                    <a16:creationId xmlns:a16="http://schemas.microsoft.com/office/drawing/2014/main" id="{41DB81FD-95E7-BE47-B18A-67144459C759}"/>
                  </a:ext>
                </a:extLst>
              </p:cNvPr>
              <p:cNvSpPr/>
              <p:nvPr/>
            </p:nvSpPr>
            <p:spPr>
              <a:xfrm>
                <a:off x="7606853" y="246063"/>
                <a:ext cx="896937" cy="896937"/>
              </a:xfrm>
              <a:prstGeom prst="teardrop">
                <a:avLst/>
              </a:prstGeom>
              <a:grpFill/>
              <a:ln w="12700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endParaRPr lang="en-US" sz="2000" kern="0" err="1">
                  <a:solidFill>
                    <a:srgbClr val="FFFFFF"/>
                  </a:solidFill>
                  <a:latin typeface="Arial"/>
                </a:endParaRPr>
              </a:p>
            </p:txBody>
          </p:sp>
          <p:sp>
            <p:nvSpPr>
              <p:cNvPr id="78" name="Oval 77">
                <a:extLst>
                  <a:ext uri="{FF2B5EF4-FFF2-40B4-BE49-F238E27FC236}">
                    <a16:creationId xmlns:a16="http://schemas.microsoft.com/office/drawing/2014/main" id="{2C0D6344-646A-924B-B497-B03F1DBD2F59}"/>
                  </a:ext>
                </a:extLst>
              </p:cNvPr>
              <p:cNvSpPr/>
              <p:nvPr/>
            </p:nvSpPr>
            <p:spPr>
              <a:xfrm>
                <a:off x="7647293" y="280458"/>
                <a:ext cx="822602" cy="822602"/>
              </a:xfrm>
              <a:prstGeom prst="ellipse">
                <a:avLst/>
              </a:prstGeom>
              <a:grpFill/>
              <a:ln w="12700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endParaRPr lang="en-US" sz="2000" kern="0" err="1">
                  <a:solidFill>
                    <a:srgbClr val="FFFFFF"/>
                  </a:solidFill>
                  <a:latin typeface="Arial"/>
                </a:endParaRPr>
              </a:p>
            </p:txBody>
          </p:sp>
        </p:grpSp>
        <p:pic>
          <p:nvPicPr>
            <p:cNvPr id="90" name="Graphic 89" descr="Office worker">
              <a:extLst>
                <a:ext uri="{FF2B5EF4-FFF2-40B4-BE49-F238E27FC236}">
                  <a16:creationId xmlns:a16="http://schemas.microsoft.com/office/drawing/2014/main" id="{D476EFD0-44E4-E54F-B219-4CAB44C4E11F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4227519" y="4906545"/>
              <a:ext cx="624548" cy="62454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7595921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32C4DB01-FF4E-2443-9632-38EDFFF66D7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3971401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Slide" r:id="rId6" imgW="7772400" imgH="10058400" progId="TCLayout.ActiveDocument.1">
                  <p:embed/>
                </p:oleObj>
              </mc:Choice>
              <mc:Fallback>
                <p:oleObj name="think-cell Slide" r:id="rId6" imgW="7772400" imgH="10058400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32C4DB01-FF4E-2443-9632-38EDFFF66D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3242203D-4936-004C-8E44-BDACFC5886B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>
              <a:defRPr/>
            </a:pPr>
            <a:endParaRPr kumimoji="0" lang="en-US" sz="3200" b="1" u="none" strike="noStrike" kern="1200" cap="none" spc="0" normalizeH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 panose="020F0302020204030204" pitchFamily="34" charset="0"/>
              <a:ea typeface="+mj-ea"/>
              <a:cs typeface="+mn-cs"/>
              <a:sym typeface="Calibri Light" panose="020F0302020204030204" pitchFamily="34" charset="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99510AA1-D904-4578-B940-48098F91670A}"/>
              </a:ext>
            </a:extLst>
          </p:cNvPr>
          <p:cNvSpPr/>
          <p:nvPr/>
        </p:nvSpPr>
        <p:spPr>
          <a:xfrm>
            <a:off x="0" y="3478381"/>
            <a:ext cx="12192000" cy="3379619"/>
          </a:xfrm>
          <a:prstGeom prst="rect">
            <a:avLst/>
          </a:prstGeom>
          <a:solidFill>
            <a:schemeClr val="tx1">
              <a:lumMod val="95000"/>
            </a:schemeClr>
          </a:solidFill>
          <a:ln>
            <a:solidFill>
              <a:schemeClr val="tx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20468" y="893851"/>
            <a:ext cx="9449316" cy="1500449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z="3200" b="1" cap="none" spc="0" dirty="0"/>
              <a:t>Automate Identification</a:t>
            </a:r>
            <a:r>
              <a:rPr lang="en-US" sz="3200" b="1" dirty="0"/>
              <a:t> of </a:t>
            </a:r>
            <a:r>
              <a:rPr lang="en-US" sz="3200" b="1" cap="none" spc="0" dirty="0"/>
              <a:t>‘Best of Craigslist’ posts 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457783" y="3521570"/>
            <a:ext cx="5095650" cy="425397"/>
          </a:xfrm>
        </p:spPr>
        <p:txBody>
          <a:bodyPr vert="horz" lIns="91440" tIns="45720" rIns="91440" bIns="45720" rtlCol="0">
            <a:normAutofit/>
          </a:bodyPr>
          <a:lstStyle/>
          <a:p>
            <a:pPr>
              <a:spcAft>
                <a:spcPts val="600"/>
              </a:spcAft>
            </a:pPr>
            <a:r>
              <a:rPr lang="en-US" b="1" dirty="0">
                <a:solidFill>
                  <a:schemeClr val="bg1">
                    <a:lumMod val="65000"/>
                    <a:lumOff val="35000"/>
                  </a:schemeClr>
                </a:solidFill>
              </a:rPr>
              <a:t>404 Error Name Not Found</a:t>
            </a:r>
          </a:p>
        </p:txBody>
      </p:sp>
      <p:pic>
        <p:nvPicPr>
          <p:cNvPr id="7" name="Picture 6" descr="A person wearing a suit and tie&#10;&#10;Description automatically generated">
            <a:extLst>
              <a:ext uri="{FF2B5EF4-FFF2-40B4-BE49-F238E27FC236}">
                <a16:creationId xmlns:a16="http://schemas.microsoft.com/office/drawing/2014/main" id="{CCF83C39-7183-40A4-B82A-E5F0C864AEFE}"/>
              </a:ext>
            </a:extLst>
          </p:cNvPr>
          <p:cNvPicPr preferRelativeResize="0">
            <a:picLocks/>
          </p:cNvPicPr>
          <p:nvPr/>
        </p:nvPicPr>
        <p:blipFill>
          <a:blip r:embed="rId8"/>
          <a:stretch>
            <a:fillRect/>
          </a:stretch>
        </p:blipFill>
        <p:spPr>
          <a:xfrm>
            <a:off x="2977854" y="4056296"/>
            <a:ext cx="1600097" cy="2132989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16544756-FF0B-44A6-B555-04025CF7EF05}"/>
              </a:ext>
            </a:extLst>
          </p:cNvPr>
          <p:cNvPicPr preferRelativeResize="0">
            <a:picLocks/>
          </p:cNvPicPr>
          <p:nvPr/>
        </p:nvPicPr>
        <p:blipFill rotWithShape="1">
          <a:blip r:embed="rId9"/>
          <a:srcRect t="1507"/>
          <a:stretch/>
        </p:blipFill>
        <p:spPr>
          <a:xfrm>
            <a:off x="5295901" y="4056296"/>
            <a:ext cx="1600097" cy="2132989"/>
          </a:xfrm>
          <a:prstGeom prst="rect">
            <a:avLst/>
          </a:prstGeom>
        </p:spPr>
      </p:pic>
      <p:pic>
        <p:nvPicPr>
          <p:cNvPr id="4" name="Picture 5" descr="A person wearing a suit and tie&#10;&#10;Description generated with very high confidence">
            <a:extLst>
              <a:ext uri="{FF2B5EF4-FFF2-40B4-BE49-F238E27FC236}">
                <a16:creationId xmlns:a16="http://schemas.microsoft.com/office/drawing/2014/main" id="{47DE4AE2-79C7-400F-8E4E-F13454D7E06F}"/>
              </a:ext>
            </a:extLst>
          </p:cNvPr>
          <p:cNvPicPr preferRelativeResize="0">
            <a:picLocks/>
          </p:cNvPicPr>
          <p:nvPr/>
        </p:nvPicPr>
        <p:blipFill rotWithShape="1">
          <a:blip r:embed="rId10"/>
          <a:srcRect b="6481"/>
          <a:stretch/>
        </p:blipFill>
        <p:spPr>
          <a:xfrm>
            <a:off x="9931993" y="4056296"/>
            <a:ext cx="1600200" cy="2127201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34511D37-5590-4534-90A4-BC404AA9B518}"/>
              </a:ext>
            </a:extLst>
          </p:cNvPr>
          <p:cNvSpPr/>
          <p:nvPr/>
        </p:nvSpPr>
        <p:spPr>
          <a:xfrm>
            <a:off x="13428" y="3384699"/>
            <a:ext cx="12155431" cy="93682"/>
          </a:xfrm>
          <a:prstGeom prst="rect">
            <a:avLst/>
          </a:prstGeom>
          <a:solidFill>
            <a:schemeClr val="tx1">
              <a:lumMod val="50000"/>
            </a:schemeClr>
          </a:solidFill>
          <a:ln>
            <a:solidFill>
              <a:schemeClr val="tx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98D687D1-CD31-4632-8ACB-BEB84D7E2B6A}"/>
              </a:ext>
            </a:extLst>
          </p:cNvPr>
          <p:cNvSpPr txBox="1"/>
          <p:nvPr/>
        </p:nvSpPr>
        <p:spPr>
          <a:xfrm>
            <a:off x="3050306" y="6274373"/>
            <a:ext cx="145519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amir Husain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B3DA558F-503F-4F04-B224-928FE6F6562D}"/>
              </a:ext>
            </a:extLst>
          </p:cNvPr>
          <p:cNvSpPr txBox="1"/>
          <p:nvPr/>
        </p:nvSpPr>
        <p:spPr>
          <a:xfrm>
            <a:off x="439887" y="6278739"/>
            <a:ext cx="203993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anay Khandelwal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46AB7B1B-5AC0-4AC9-B6FA-44F7431EF2E3}"/>
              </a:ext>
            </a:extLst>
          </p:cNvPr>
          <p:cNvSpPr txBox="1"/>
          <p:nvPr/>
        </p:nvSpPr>
        <p:spPr>
          <a:xfrm>
            <a:off x="5477139" y="6274373"/>
            <a:ext cx="122800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oli Gupta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835E3A70-DA4F-45EF-B86C-4AC284DC848E}"/>
              </a:ext>
            </a:extLst>
          </p:cNvPr>
          <p:cNvSpPr txBox="1"/>
          <p:nvPr/>
        </p:nvSpPr>
        <p:spPr>
          <a:xfrm>
            <a:off x="7394028" y="6274373"/>
            <a:ext cx="203993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run Ramakrishnan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3AFC13F6-02F3-48A5-B4EE-2346F5956045}"/>
              </a:ext>
            </a:extLst>
          </p:cNvPr>
          <p:cNvSpPr txBox="1"/>
          <p:nvPr/>
        </p:nvSpPr>
        <p:spPr>
          <a:xfrm>
            <a:off x="9590053" y="6274373"/>
            <a:ext cx="22840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hreeansh Priyadarshi</a:t>
            </a:r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D062855E-E196-431E-BED7-1B8C4B137F59}"/>
              </a:ext>
            </a:extLst>
          </p:cNvPr>
          <p:cNvSpPr txBox="1">
            <a:spLocks/>
          </p:cNvSpPr>
          <p:nvPr/>
        </p:nvSpPr>
        <p:spPr>
          <a:xfrm>
            <a:off x="4208571" y="2097904"/>
            <a:ext cx="3765144" cy="96176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 panose="020F0302020204030204"/>
                <a:ea typeface="+mj-ea"/>
                <a:cs typeface="+mj-cs"/>
              </a:rPr>
              <a:t>Prepared for Craigslist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 panose="020F0302020204030204"/>
                <a:ea typeface="+mj-ea"/>
                <a:cs typeface="+mj-cs"/>
              </a:rPr>
              <a:t>December 4, 2019</a:t>
            </a:r>
          </a:p>
        </p:txBody>
      </p:sp>
      <p:pic>
        <p:nvPicPr>
          <p:cNvPr id="13" name="Picture 12" descr="A person wearing a suit and tie&#10;&#10;Description automatically generated">
            <a:extLst>
              <a:ext uri="{FF2B5EF4-FFF2-40B4-BE49-F238E27FC236}">
                <a16:creationId xmlns:a16="http://schemas.microsoft.com/office/drawing/2014/main" id="{F289C205-C11A-42AB-ACF1-79603C805DEC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659807" y="4056296"/>
            <a:ext cx="1600097" cy="2132989"/>
          </a:xfrm>
          <a:prstGeom prst="rect">
            <a:avLst/>
          </a:prstGeom>
        </p:spPr>
      </p:pic>
      <p:pic>
        <p:nvPicPr>
          <p:cNvPr id="33796" name="Picture 4" descr="https://i2.wp.com/noblepawnbroker.com/wp-content/uploads/2019/02/craigslist-logo-transparent.png?fit=300%2C225&amp;ssl=1">
            <a:extLst>
              <a:ext uri="{FF2B5EF4-FFF2-40B4-BE49-F238E27FC236}">
                <a16:creationId xmlns:a16="http://schemas.microsoft.com/office/drawing/2014/main" id="{B36194E2-7A28-4903-8858-C9572B80FFF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13">
                    <a14:imgEffect>
                      <a14:artisticPhotocopy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154" y="-104106"/>
            <a:ext cx="1885098" cy="14138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AA4B9919-0FAD-4C00-9D23-34E68E56C321}"/>
              </a:ext>
            </a:extLst>
          </p:cNvPr>
          <p:cNvPicPr>
            <a:picLocks noChangeAspect="1"/>
          </p:cNvPicPr>
          <p:nvPr/>
        </p:nvPicPr>
        <p:blipFill rotWithShape="1">
          <a:blip r:embed="rId14"/>
          <a:srcRect l="20220" t="14513" r="29026" b="30043"/>
          <a:stretch/>
        </p:blipFill>
        <p:spPr>
          <a:xfrm>
            <a:off x="7613948" y="4056296"/>
            <a:ext cx="1600097" cy="2127201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63797E04-256C-42AE-B897-BDA346514197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10865099" y="14201"/>
            <a:ext cx="1295517" cy="12955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926949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>
            <a:extLst>
              <a:ext uri="{FF2B5EF4-FFF2-40B4-BE49-F238E27FC236}">
                <a16:creationId xmlns:a16="http://schemas.microsoft.com/office/drawing/2014/main" id="{AAFC420C-3A5D-4789-A697-DC3BBD29CEE3}"/>
              </a:ext>
            </a:extLst>
          </p:cNvPr>
          <p:cNvSpPr/>
          <p:nvPr/>
        </p:nvSpPr>
        <p:spPr>
          <a:xfrm>
            <a:off x="0" y="264294"/>
            <a:ext cx="1757680" cy="741204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C98781B0-9064-46C2-8497-AAAE84DCA1CC}"/>
              </a:ext>
            </a:extLst>
          </p:cNvPr>
          <p:cNvSpPr/>
          <p:nvPr/>
        </p:nvSpPr>
        <p:spPr>
          <a:xfrm>
            <a:off x="8575041" y="293170"/>
            <a:ext cx="3616959" cy="741204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2B495259-37AB-4B6D-BD31-B118894F75D0}"/>
              </a:ext>
            </a:extLst>
          </p:cNvPr>
          <p:cNvSpPr/>
          <p:nvPr/>
        </p:nvSpPr>
        <p:spPr>
          <a:xfrm>
            <a:off x="1757681" y="293170"/>
            <a:ext cx="6817360" cy="74120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>
                <a:solidFill>
                  <a:schemeClr val="tx1"/>
                </a:solidFill>
              </a:rPr>
              <a:t>Risk and Risk mitigation</a:t>
            </a:r>
          </a:p>
        </p:txBody>
      </p:sp>
      <p:sp>
        <p:nvSpPr>
          <p:cNvPr id="5" name="Freeform 5">
            <a:extLst>
              <a:ext uri="{FF2B5EF4-FFF2-40B4-BE49-F238E27FC236}">
                <a16:creationId xmlns:a16="http://schemas.microsoft.com/office/drawing/2014/main" id="{001E54B4-E0B0-5B45-8107-356352F28AAE}"/>
              </a:ext>
            </a:extLst>
          </p:cNvPr>
          <p:cNvSpPr>
            <a:spLocks noEditPoints="1"/>
          </p:cNvSpPr>
          <p:nvPr/>
        </p:nvSpPr>
        <p:spPr bwMode="auto">
          <a:xfrm>
            <a:off x="3344122" y="2397859"/>
            <a:ext cx="1948397" cy="1877866"/>
          </a:xfrm>
          <a:custGeom>
            <a:avLst/>
            <a:gdLst/>
            <a:ahLst/>
            <a:cxnLst>
              <a:cxn ang="0">
                <a:pos x="85" y="294"/>
              </a:cxn>
              <a:cxn ang="0">
                <a:pos x="0" y="330"/>
              </a:cxn>
              <a:cxn ang="0">
                <a:pos x="314" y="0"/>
              </a:cxn>
              <a:cxn ang="0">
                <a:pos x="167" y="327"/>
              </a:cxn>
              <a:cxn ang="0">
                <a:pos x="85" y="294"/>
              </a:cxn>
              <a:cxn ang="0">
                <a:pos x="85" y="294"/>
              </a:cxn>
              <a:cxn ang="0">
                <a:pos x="85" y="294"/>
              </a:cxn>
            </a:cxnLst>
            <a:rect l="0" t="0" r="r" b="b"/>
            <a:pathLst>
              <a:path w="314" h="330">
                <a:moveTo>
                  <a:pt x="85" y="294"/>
                </a:moveTo>
                <a:cubicBezTo>
                  <a:pt x="52" y="294"/>
                  <a:pt x="21" y="307"/>
                  <a:pt x="0" y="330"/>
                </a:cubicBezTo>
                <a:cubicBezTo>
                  <a:pt x="19" y="162"/>
                  <a:pt x="149" y="27"/>
                  <a:pt x="314" y="0"/>
                </a:cubicBezTo>
                <a:cubicBezTo>
                  <a:pt x="176" y="99"/>
                  <a:pt x="167" y="274"/>
                  <a:pt x="167" y="327"/>
                </a:cubicBezTo>
                <a:cubicBezTo>
                  <a:pt x="146" y="306"/>
                  <a:pt x="116" y="294"/>
                  <a:pt x="85" y="294"/>
                </a:cubicBezTo>
                <a:close/>
                <a:moveTo>
                  <a:pt x="85" y="294"/>
                </a:moveTo>
                <a:cubicBezTo>
                  <a:pt x="85" y="294"/>
                  <a:pt x="85" y="294"/>
                  <a:pt x="85" y="294"/>
                </a:cubicBezTo>
              </a:path>
            </a:pathLst>
          </a:custGeom>
          <a:solidFill>
            <a:schemeClr val="tx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457200"/>
            <a:endParaRPr lang="en-US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6" name="Freeform 6">
            <a:extLst>
              <a:ext uri="{FF2B5EF4-FFF2-40B4-BE49-F238E27FC236}">
                <a16:creationId xmlns:a16="http://schemas.microsoft.com/office/drawing/2014/main" id="{ED9FAD77-D236-D343-9022-2BADD30476EB}"/>
              </a:ext>
            </a:extLst>
          </p:cNvPr>
          <p:cNvSpPr>
            <a:spLocks noEditPoints="1"/>
          </p:cNvSpPr>
          <p:nvPr/>
        </p:nvSpPr>
        <p:spPr bwMode="auto">
          <a:xfrm>
            <a:off x="4540920" y="2405055"/>
            <a:ext cx="1050145" cy="1870672"/>
          </a:xfrm>
          <a:custGeom>
            <a:avLst/>
            <a:gdLst/>
            <a:ahLst/>
            <a:cxnLst>
              <a:cxn ang="0">
                <a:pos x="84" y="293"/>
              </a:cxn>
              <a:cxn ang="0">
                <a:pos x="1" y="327"/>
              </a:cxn>
              <a:cxn ang="0">
                <a:pos x="169" y="0"/>
              </a:cxn>
              <a:cxn ang="0">
                <a:pos x="169" y="329"/>
              </a:cxn>
              <a:cxn ang="0">
                <a:pos x="84" y="293"/>
              </a:cxn>
              <a:cxn ang="0">
                <a:pos x="84" y="293"/>
              </a:cxn>
              <a:cxn ang="0">
                <a:pos x="84" y="293"/>
              </a:cxn>
            </a:cxnLst>
            <a:rect l="0" t="0" r="r" b="b"/>
            <a:pathLst>
              <a:path w="169" h="329">
                <a:moveTo>
                  <a:pt x="84" y="293"/>
                </a:moveTo>
                <a:cubicBezTo>
                  <a:pt x="52" y="293"/>
                  <a:pt x="22" y="306"/>
                  <a:pt x="1" y="327"/>
                </a:cubicBezTo>
                <a:cubicBezTo>
                  <a:pt x="0" y="276"/>
                  <a:pt x="8" y="87"/>
                  <a:pt x="169" y="0"/>
                </a:cubicBezTo>
                <a:cubicBezTo>
                  <a:pt x="169" y="329"/>
                  <a:pt x="169" y="329"/>
                  <a:pt x="169" y="329"/>
                </a:cubicBezTo>
                <a:cubicBezTo>
                  <a:pt x="147" y="306"/>
                  <a:pt x="117" y="293"/>
                  <a:pt x="84" y="293"/>
                </a:cubicBezTo>
                <a:close/>
                <a:moveTo>
                  <a:pt x="84" y="293"/>
                </a:moveTo>
                <a:cubicBezTo>
                  <a:pt x="84" y="293"/>
                  <a:pt x="84" y="293"/>
                  <a:pt x="84" y="293"/>
                </a:cubicBezTo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457200"/>
            <a:endParaRPr lang="en-US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7" name="Freeform 7">
            <a:extLst>
              <a:ext uri="{FF2B5EF4-FFF2-40B4-BE49-F238E27FC236}">
                <a16:creationId xmlns:a16="http://schemas.microsoft.com/office/drawing/2014/main" id="{569D2A7A-27BA-DB49-A60A-46E7B00204EB}"/>
              </a:ext>
            </a:extLst>
          </p:cNvPr>
          <p:cNvSpPr>
            <a:spLocks noEditPoints="1"/>
          </p:cNvSpPr>
          <p:nvPr/>
        </p:nvSpPr>
        <p:spPr bwMode="auto">
          <a:xfrm>
            <a:off x="5753430" y="2405055"/>
            <a:ext cx="1047525" cy="1870672"/>
          </a:xfrm>
          <a:custGeom>
            <a:avLst/>
            <a:gdLst/>
            <a:ahLst/>
            <a:cxnLst>
              <a:cxn ang="0">
                <a:pos x="85" y="293"/>
              </a:cxn>
              <a:cxn ang="0">
                <a:pos x="0" y="329"/>
              </a:cxn>
              <a:cxn ang="0">
                <a:pos x="0" y="0"/>
              </a:cxn>
              <a:cxn ang="0">
                <a:pos x="168" y="327"/>
              </a:cxn>
              <a:cxn ang="0">
                <a:pos x="85" y="293"/>
              </a:cxn>
              <a:cxn ang="0">
                <a:pos x="85" y="293"/>
              </a:cxn>
              <a:cxn ang="0">
                <a:pos x="85" y="293"/>
              </a:cxn>
            </a:cxnLst>
            <a:rect l="0" t="0" r="r" b="b"/>
            <a:pathLst>
              <a:path w="169" h="329">
                <a:moveTo>
                  <a:pt x="85" y="293"/>
                </a:moveTo>
                <a:cubicBezTo>
                  <a:pt x="52" y="293"/>
                  <a:pt x="22" y="306"/>
                  <a:pt x="0" y="329"/>
                </a:cubicBezTo>
                <a:cubicBezTo>
                  <a:pt x="0" y="0"/>
                  <a:pt x="0" y="0"/>
                  <a:pt x="0" y="0"/>
                </a:cubicBezTo>
                <a:cubicBezTo>
                  <a:pt x="161" y="87"/>
                  <a:pt x="169" y="276"/>
                  <a:pt x="168" y="327"/>
                </a:cubicBezTo>
                <a:cubicBezTo>
                  <a:pt x="146" y="306"/>
                  <a:pt x="116" y="293"/>
                  <a:pt x="85" y="293"/>
                </a:cubicBezTo>
                <a:close/>
                <a:moveTo>
                  <a:pt x="85" y="293"/>
                </a:moveTo>
                <a:cubicBezTo>
                  <a:pt x="85" y="293"/>
                  <a:pt x="85" y="293"/>
                  <a:pt x="85" y="293"/>
                </a:cubicBezTo>
              </a:path>
            </a:pathLst>
          </a:custGeom>
          <a:solidFill>
            <a:schemeClr val="tx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457200"/>
            <a:endParaRPr lang="en-US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8" name="Freeform 8">
            <a:extLst>
              <a:ext uri="{FF2B5EF4-FFF2-40B4-BE49-F238E27FC236}">
                <a16:creationId xmlns:a16="http://schemas.microsoft.com/office/drawing/2014/main" id="{DB54419A-9818-F748-A8FC-29EA76ACF196}"/>
              </a:ext>
            </a:extLst>
          </p:cNvPr>
          <p:cNvSpPr>
            <a:spLocks noEditPoints="1"/>
          </p:cNvSpPr>
          <p:nvPr/>
        </p:nvSpPr>
        <p:spPr bwMode="auto">
          <a:xfrm>
            <a:off x="6044119" y="2397859"/>
            <a:ext cx="1961491" cy="1889858"/>
          </a:xfrm>
          <a:custGeom>
            <a:avLst/>
            <a:gdLst/>
            <a:ahLst/>
            <a:cxnLst>
              <a:cxn ang="0">
                <a:pos x="229" y="294"/>
              </a:cxn>
              <a:cxn ang="0">
                <a:pos x="147" y="327"/>
              </a:cxn>
              <a:cxn ang="0">
                <a:pos x="0" y="0"/>
              </a:cxn>
              <a:cxn ang="0">
                <a:pos x="316" y="332"/>
              </a:cxn>
              <a:cxn ang="0">
                <a:pos x="229" y="294"/>
              </a:cxn>
              <a:cxn ang="0">
                <a:pos x="229" y="294"/>
              </a:cxn>
              <a:cxn ang="0">
                <a:pos x="229" y="294"/>
              </a:cxn>
            </a:cxnLst>
            <a:rect l="0" t="0" r="r" b="b"/>
            <a:pathLst>
              <a:path w="316" h="332">
                <a:moveTo>
                  <a:pt x="229" y="294"/>
                </a:moveTo>
                <a:cubicBezTo>
                  <a:pt x="198" y="294"/>
                  <a:pt x="169" y="306"/>
                  <a:pt x="147" y="327"/>
                </a:cubicBezTo>
                <a:cubicBezTo>
                  <a:pt x="148" y="274"/>
                  <a:pt x="138" y="99"/>
                  <a:pt x="0" y="0"/>
                </a:cubicBezTo>
                <a:cubicBezTo>
                  <a:pt x="167" y="26"/>
                  <a:pt x="298" y="162"/>
                  <a:pt x="316" y="332"/>
                </a:cubicBezTo>
                <a:cubicBezTo>
                  <a:pt x="295" y="308"/>
                  <a:pt x="263" y="294"/>
                  <a:pt x="229" y="294"/>
                </a:cubicBezTo>
                <a:close/>
                <a:moveTo>
                  <a:pt x="229" y="294"/>
                </a:moveTo>
                <a:cubicBezTo>
                  <a:pt x="229" y="294"/>
                  <a:pt x="229" y="294"/>
                  <a:pt x="229" y="294"/>
                </a:cubicBezTo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457200"/>
            <a:endParaRPr lang="en-US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9" name="Freeform 9">
            <a:extLst>
              <a:ext uri="{FF2B5EF4-FFF2-40B4-BE49-F238E27FC236}">
                <a16:creationId xmlns:a16="http://schemas.microsoft.com/office/drawing/2014/main" id="{3FB5D958-EC1A-2D49-A91B-E9823496E35F}"/>
              </a:ext>
            </a:extLst>
          </p:cNvPr>
          <p:cNvSpPr>
            <a:spLocks noEditPoints="1"/>
          </p:cNvSpPr>
          <p:nvPr/>
        </p:nvSpPr>
        <p:spPr bwMode="auto">
          <a:xfrm>
            <a:off x="5581300" y="4426487"/>
            <a:ext cx="814452" cy="1587673"/>
          </a:xfrm>
          <a:custGeom>
            <a:avLst/>
            <a:gdLst/>
            <a:ahLst/>
            <a:cxnLst>
              <a:cxn ang="0">
                <a:pos x="13" y="7"/>
              </a:cxn>
              <a:cxn ang="0">
                <a:pos x="0" y="0"/>
              </a:cxn>
              <a:cxn ang="0">
                <a:pos x="0" y="214"/>
              </a:cxn>
              <a:cxn ang="0">
                <a:pos x="2" y="219"/>
              </a:cxn>
              <a:cxn ang="0">
                <a:pos x="66" y="279"/>
              </a:cxn>
              <a:cxn ang="0">
                <a:pos x="131" y="214"/>
              </a:cxn>
              <a:cxn ang="0">
                <a:pos x="118" y="201"/>
              </a:cxn>
              <a:cxn ang="0">
                <a:pos x="105" y="214"/>
              </a:cxn>
              <a:cxn ang="0">
                <a:pos x="66" y="253"/>
              </a:cxn>
              <a:cxn ang="0">
                <a:pos x="27" y="214"/>
              </a:cxn>
              <a:cxn ang="0">
                <a:pos x="26" y="211"/>
              </a:cxn>
              <a:cxn ang="0">
                <a:pos x="26" y="0"/>
              </a:cxn>
              <a:cxn ang="0">
                <a:pos x="13" y="7"/>
              </a:cxn>
              <a:cxn ang="0">
                <a:pos x="13" y="7"/>
              </a:cxn>
              <a:cxn ang="0">
                <a:pos x="13" y="7"/>
              </a:cxn>
            </a:cxnLst>
            <a:rect l="0" t="0" r="r" b="b"/>
            <a:pathLst>
              <a:path w="131" h="279">
                <a:moveTo>
                  <a:pt x="13" y="7"/>
                </a:moveTo>
                <a:cubicBezTo>
                  <a:pt x="8" y="7"/>
                  <a:pt x="3" y="4"/>
                  <a:pt x="0" y="0"/>
                </a:cubicBezTo>
                <a:cubicBezTo>
                  <a:pt x="0" y="214"/>
                  <a:pt x="0" y="214"/>
                  <a:pt x="0" y="214"/>
                </a:cubicBezTo>
                <a:cubicBezTo>
                  <a:pt x="0" y="216"/>
                  <a:pt x="1" y="218"/>
                  <a:pt x="2" y="219"/>
                </a:cubicBezTo>
                <a:cubicBezTo>
                  <a:pt x="4" y="253"/>
                  <a:pt x="32" y="279"/>
                  <a:pt x="66" y="279"/>
                </a:cubicBezTo>
                <a:cubicBezTo>
                  <a:pt x="102" y="279"/>
                  <a:pt x="131" y="250"/>
                  <a:pt x="131" y="214"/>
                </a:cubicBezTo>
                <a:cubicBezTo>
                  <a:pt x="131" y="207"/>
                  <a:pt x="126" y="201"/>
                  <a:pt x="118" y="201"/>
                </a:cubicBezTo>
                <a:cubicBezTo>
                  <a:pt x="111" y="201"/>
                  <a:pt x="105" y="207"/>
                  <a:pt x="105" y="214"/>
                </a:cubicBezTo>
                <a:cubicBezTo>
                  <a:pt x="105" y="236"/>
                  <a:pt x="88" y="253"/>
                  <a:pt x="66" y="253"/>
                </a:cubicBezTo>
                <a:cubicBezTo>
                  <a:pt x="45" y="253"/>
                  <a:pt x="27" y="236"/>
                  <a:pt x="27" y="214"/>
                </a:cubicBezTo>
                <a:cubicBezTo>
                  <a:pt x="27" y="213"/>
                  <a:pt x="27" y="212"/>
                  <a:pt x="26" y="211"/>
                </a:cubicBezTo>
                <a:cubicBezTo>
                  <a:pt x="26" y="0"/>
                  <a:pt x="26" y="0"/>
                  <a:pt x="26" y="0"/>
                </a:cubicBezTo>
                <a:cubicBezTo>
                  <a:pt x="24" y="4"/>
                  <a:pt x="19" y="7"/>
                  <a:pt x="13" y="7"/>
                </a:cubicBezTo>
                <a:close/>
                <a:moveTo>
                  <a:pt x="13" y="7"/>
                </a:moveTo>
                <a:cubicBezTo>
                  <a:pt x="13" y="7"/>
                  <a:pt x="13" y="7"/>
                  <a:pt x="13" y="7"/>
                </a:cubicBezTo>
              </a:path>
            </a:pathLst>
          </a:custGeom>
          <a:solidFill>
            <a:srgbClr val="7C7C7B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457200"/>
            <a:endParaRPr lang="en-US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0" name="Freeform 10">
            <a:extLst>
              <a:ext uri="{FF2B5EF4-FFF2-40B4-BE49-F238E27FC236}">
                <a16:creationId xmlns:a16="http://schemas.microsoft.com/office/drawing/2014/main" id="{7C9BE0C2-0748-B047-987D-47C49161863A}"/>
              </a:ext>
            </a:extLst>
          </p:cNvPr>
          <p:cNvSpPr>
            <a:spLocks noEditPoints="1"/>
          </p:cNvSpPr>
          <p:nvPr/>
        </p:nvSpPr>
        <p:spPr bwMode="auto">
          <a:xfrm>
            <a:off x="5591062" y="1978158"/>
            <a:ext cx="162366" cy="299786"/>
          </a:xfrm>
          <a:custGeom>
            <a:avLst/>
            <a:gdLst/>
            <a:ahLst/>
            <a:cxnLst>
              <a:cxn ang="0">
                <a:pos x="26" y="52"/>
              </a:cxn>
              <a:cxn ang="0">
                <a:pos x="26" y="13"/>
              </a:cxn>
              <a:cxn ang="0">
                <a:pos x="13" y="0"/>
              </a:cxn>
              <a:cxn ang="0">
                <a:pos x="0" y="13"/>
              </a:cxn>
              <a:cxn ang="0">
                <a:pos x="0" y="52"/>
              </a:cxn>
              <a:cxn ang="0">
                <a:pos x="0" y="53"/>
              </a:cxn>
              <a:cxn ang="0">
                <a:pos x="26" y="53"/>
              </a:cxn>
              <a:cxn ang="0">
                <a:pos x="26" y="52"/>
              </a:cxn>
              <a:cxn ang="0">
                <a:pos x="26" y="52"/>
              </a:cxn>
              <a:cxn ang="0">
                <a:pos x="26" y="52"/>
              </a:cxn>
            </a:cxnLst>
            <a:rect l="0" t="0" r="r" b="b"/>
            <a:pathLst>
              <a:path w="26" h="53">
                <a:moveTo>
                  <a:pt x="26" y="52"/>
                </a:moveTo>
                <a:cubicBezTo>
                  <a:pt x="26" y="13"/>
                  <a:pt x="26" y="13"/>
                  <a:pt x="26" y="13"/>
                </a:cubicBezTo>
                <a:cubicBezTo>
                  <a:pt x="26" y="6"/>
                  <a:pt x="20" y="0"/>
                  <a:pt x="13" y="0"/>
                </a:cubicBezTo>
                <a:cubicBezTo>
                  <a:pt x="6" y="0"/>
                  <a:pt x="0" y="6"/>
                  <a:pt x="0" y="13"/>
                </a:cubicBezTo>
                <a:cubicBezTo>
                  <a:pt x="0" y="52"/>
                  <a:pt x="0" y="52"/>
                  <a:pt x="0" y="52"/>
                </a:cubicBezTo>
                <a:cubicBezTo>
                  <a:pt x="0" y="52"/>
                  <a:pt x="0" y="52"/>
                  <a:pt x="0" y="53"/>
                </a:cubicBezTo>
                <a:cubicBezTo>
                  <a:pt x="26" y="53"/>
                  <a:pt x="26" y="53"/>
                  <a:pt x="26" y="53"/>
                </a:cubicBezTo>
                <a:cubicBezTo>
                  <a:pt x="26" y="52"/>
                  <a:pt x="26" y="52"/>
                  <a:pt x="26" y="52"/>
                </a:cubicBezTo>
                <a:close/>
                <a:moveTo>
                  <a:pt x="26" y="52"/>
                </a:moveTo>
                <a:cubicBezTo>
                  <a:pt x="26" y="52"/>
                  <a:pt x="26" y="52"/>
                  <a:pt x="26" y="52"/>
                </a:cubicBezTo>
              </a:path>
            </a:pathLst>
          </a:custGeom>
          <a:solidFill>
            <a:srgbClr val="7C7C7B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457200"/>
            <a:endParaRPr lang="en-US">
              <a:solidFill>
                <a:prstClr val="black"/>
              </a:solidFill>
              <a:latin typeface="Calibri" panose="020F0502020204030204"/>
            </a:endParaRPr>
          </a:p>
        </p:txBody>
      </p:sp>
      <p:grpSp>
        <p:nvGrpSpPr>
          <p:cNvPr id="11" name="Group 17">
            <a:extLst>
              <a:ext uri="{FF2B5EF4-FFF2-40B4-BE49-F238E27FC236}">
                <a16:creationId xmlns:a16="http://schemas.microsoft.com/office/drawing/2014/main" id="{5C0C4C9C-E96A-BD44-9856-F340FFBD94EF}"/>
              </a:ext>
            </a:extLst>
          </p:cNvPr>
          <p:cNvGrpSpPr/>
          <p:nvPr/>
        </p:nvGrpSpPr>
        <p:grpSpPr>
          <a:xfrm>
            <a:off x="666585" y="5203186"/>
            <a:ext cx="3112916" cy="960234"/>
            <a:chOff x="480956" y="1892961"/>
            <a:chExt cx="2650869" cy="960234"/>
          </a:xfrm>
        </p:grpSpPr>
        <p:sp>
          <p:nvSpPr>
            <p:cNvPr id="12" name="Footer Text">
              <a:extLst>
                <a:ext uri="{FF2B5EF4-FFF2-40B4-BE49-F238E27FC236}">
                  <a16:creationId xmlns:a16="http://schemas.microsoft.com/office/drawing/2014/main" id="{A76F8E1C-F7E9-4C41-AD91-763A0A8D08C2}"/>
                </a:ext>
              </a:extLst>
            </p:cNvPr>
            <p:cNvSpPr txBox="1"/>
            <p:nvPr/>
          </p:nvSpPr>
          <p:spPr>
            <a:xfrm>
              <a:off x="480956" y="2114531"/>
              <a:ext cx="2650869" cy="73866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 defTabSz="457200"/>
              <a:r>
                <a:rPr lang="en-US" sz="1600">
                  <a:solidFill>
                    <a:prstClr val="black">
                      <a:lumMod val="65000"/>
                      <a:lumOff val="35000"/>
                    </a:prstClr>
                  </a:solidFill>
                  <a:latin typeface="Calibri" panose="020F0502020204030204"/>
                </a:rPr>
                <a:t>Partnering with BA courses across countries to utilize young talents</a:t>
              </a: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86AA3EF4-479A-1745-A8AF-B5ACEFB21B34}"/>
                </a:ext>
              </a:extLst>
            </p:cNvPr>
            <p:cNvSpPr txBox="1"/>
            <p:nvPr/>
          </p:nvSpPr>
          <p:spPr>
            <a:xfrm>
              <a:off x="945136" y="1892961"/>
              <a:ext cx="2186689" cy="246221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algn="r" defTabSz="457200"/>
              <a:r>
                <a:rPr lang="en-US" sz="1600" b="1">
                  <a:solidFill>
                    <a:prstClr val="black"/>
                  </a:solidFill>
                  <a:latin typeface="Calibri" panose="020F0502020204030204"/>
                </a:rPr>
                <a:t>Operational Cost Increase</a:t>
              </a:r>
            </a:p>
          </p:txBody>
        </p:sp>
      </p:grpSp>
      <p:grpSp>
        <p:nvGrpSpPr>
          <p:cNvPr id="14" name="Group 32">
            <a:extLst>
              <a:ext uri="{FF2B5EF4-FFF2-40B4-BE49-F238E27FC236}">
                <a16:creationId xmlns:a16="http://schemas.microsoft.com/office/drawing/2014/main" id="{F47AA416-AEE5-FE4A-A5E0-B8A0125F1277}"/>
              </a:ext>
            </a:extLst>
          </p:cNvPr>
          <p:cNvGrpSpPr/>
          <p:nvPr/>
        </p:nvGrpSpPr>
        <p:grpSpPr>
          <a:xfrm>
            <a:off x="277402" y="1646904"/>
            <a:ext cx="3606105" cy="945689"/>
            <a:chOff x="844734" y="1892961"/>
            <a:chExt cx="2287091" cy="945689"/>
          </a:xfrm>
        </p:grpSpPr>
        <p:sp>
          <p:nvSpPr>
            <p:cNvPr id="15" name="Footer Text">
              <a:extLst>
                <a:ext uri="{FF2B5EF4-FFF2-40B4-BE49-F238E27FC236}">
                  <a16:creationId xmlns:a16="http://schemas.microsoft.com/office/drawing/2014/main" id="{FA514F4A-0110-A848-B0AA-228E84C65A6F}"/>
                </a:ext>
              </a:extLst>
            </p:cNvPr>
            <p:cNvSpPr txBox="1"/>
            <p:nvPr/>
          </p:nvSpPr>
          <p:spPr>
            <a:xfrm>
              <a:off x="844734" y="2099986"/>
              <a:ext cx="2287091" cy="73866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 defTabSz="457200"/>
              <a:r>
                <a:rPr lang="en-US" sz="1600">
                  <a:solidFill>
                    <a:prstClr val="black">
                      <a:lumMod val="65000"/>
                      <a:lumOff val="35000"/>
                    </a:prstClr>
                  </a:solidFill>
                  <a:latin typeface="Calibri" panose="020F0502020204030204"/>
                </a:rPr>
                <a:t>Market Survey to understand the attitude of customers towards proposed changes</a:t>
              </a: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A40F3236-39C8-AC4D-B099-1F2E29F11DF2}"/>
                </a:ext>
              </a:extLst>
            </p:cNvPr>
            <p:cNvSpPr txBox="1"/>
            <p:nvPr/>
          </p:nvSpPr>
          <p:spPr>
            <a:xfrm>
              <a:off x="1149451" y="1892961"/>
              <a:ext cx="1982374" cy="246221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algn="r" defTabSz="457200"/>
              <a:r>
                <a:rPr lang="en-US" sz="1600" b="1">
                  <a:solidFill>
                    <a:prstClr val="black"/>
                  </a:solidFill>
                  <a:latin typeface="Calibri" panose="020F0502020204030204"/>
                </a:rPr>
                <a:t>Deviation from conventional style</a:t>
              </a:r>
            </a:p>
          </p:txBody>
        </p:sp>
      </p:grpSp>
      <p:grpSp>
        <p:nvGrpSpPr>
          <p:cNvPr id="17" name="Group 38">
            <a:extLst>
              <a:ext uri="{FF2B5EF4-FFF2-40B4-BE49-F238E27FC236}">
                <a16:creationId xmlns:a16="http://schemas.microsoft.com/office/drawing/2014/main" id="{EB681053-28FC-A647-8466-866AB59FBDC5}"/>
              </a:ext>
            </a:extLst>
          </p:cNvPr>
          <p:cNvGrpSpPr/>
          <p:nvPr/>
        </p:nvGrpSpPr>
        <p:grpSpPr>
          <a:xfrm>
            <a:off x="7974075" y="1715752"/>
            <a:ext cx="3532980" cy="945689"/>
            <a:chOff x="844734" y="1892961"/>
            <a:chExt cx="2287091" cy="945689"/>
          </a:xfrm>
        </p:grpSpPr>
        <p:sp>
          <p:nvSpPr>
            <p:cNvPr id="18" name="Footer Text">
              <a:extLst>
                <a:ext uri="{FF2B5EF4-FFF2-40B4-BE49-F238E27FC236}">
                  <a16:creationId xmlns:a16="http://schemas.microsoft.com/office/drawing/2014/main" id="{7E364E69-5431-D843-96FD-02D458C15B28}"/>
                </a:ext>
              </a:extLst>
            </p:cNvPr>
            <p:cNvSpPr txBox="1"/>
            <p:nvPr/>
          </p:nvSpPr>
          <p:spPr>
            <a:xfrm>
              <a:off x="844734" y="2099986"/>
              <a:ext cx="2287091" cy="73866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defTabSz="457200"/>
              <a:r>
                <a:rPr lang="en-US" sz="1600">
                  <a:solidFill>
                    <a:prstClr val="black">
                      <a:lumMod val="75000"/>
                      <a:lumOff val="25000"/>
                    </a:prstClr>
                  </a:solidFill>
                  <a:latin typeface="Calibri" panose="020F0502020204030204"/>
                </a:rPr>
                <a:t>Sarcastic comments and posts can be identified in future through extensive research and development</a:t>
              </a: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42A1EEDA-0CE5-2848-AF4E-AA15A39B1113}"/>
                </a:ext>
              </a:extLst>
            </p:cNvPr>
            <p:cNvSpPr txBox="1"/>
            <p:nvPr/>
          </p:nvSpPr>
          <p:spPr>
            <a:xfrm>
              <a:off x="844734" y="1892961"/>
              <a:ext cx="820456" cy="246221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defTabSz="457200"/>
              <a:r>
                <a:rPr lang="en-US" sz="1600" b="1">
                  <a:solidFill>
                    <a:prstClr val="black"/>
                  </a:solidFill>
                  <a:latin typeface="Calibri" panose="020F0502020204030204"/>
                </a:rPr>
                <a:t>NLP challenges</a:t>
              </a:r>
            </a:p>
          </p:txBody>
        </p:sp>
      </p:grpSp>
      <p:grpSp>
        <p:nvGrpSpPr>
          <p:cNvPr id="20" name="Group 44">
            <a:extLst>
              <a:ext uri="{FF2B5EF4-FFF2-40B4-BE49-F238E27FC236}">
                <a16:creationId xmlns:a16="http://schemas.microsoft.com/office/drawing/2014/main" id="{F5D85F1B-779A-7940-9E0E-FA07354D72A1}"/>
              </a:ext>
            </a:extLst>
          </p:cNvPr>
          <p:cNvGrpSpPr/>
          <p:nvPr/>
        </p:nvGrpSpPr>
        <p:grpSpPr>
          <a:xfrm>
            <a:off x="7504455" y="5208348"/>
            <a:ext cx="3532980" cy="1200580"/>
            <a:chOff x="844734" y="1896736"/>
            <a:chExt cx="2444427" cy="1163763"/>
          </a:xfrm>
        </p:grpSpPr>
        <p:sp>
          <p:nvSpPr>
            <p:cNvPr id="21" name="Footer Text">
              <a:extLst>
                <a:ext uri="{FF2B5EF4-FFF2-40B4-BE49-F238E27FC236}">
                  <a16:creationId xmlns:a16="http://schemas.microsoft.com/office/drawing/2014/main" id="{942CD67F-684C-F349-B42E-0D9EE2FE268B}"/>
                </a:ext>
              </a:extLst>
            </p:cNvPr>
            <p:cNvSpPr txBox="1"/>
            <p:nvPr/>
          </p:nvSpPr>
          <p:spPr>
            <a:xfrm>
              <a:off x="844734" y="2105816"/>
              <a:ext cx="2444427" cy="95468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defTabSz="457200"/>
              <a:r>
                <a:rPr lang="en-US" sz="1600">
                  <a:solidFill>
                    <a:prstClr val="black">
                      <a:lumMod val="65000"/>
                      <a:lumOff val="35000"/>
                    </a:prstClr>
                  </a:solidFill>
                  <a:latin typeface="Calibri" panose="020F0502020204030204"/>
                </a:rPr>
                <a:t>Posts with misclassified objects can be reclassified through advanced object detection</a:t>
              </a: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D8FB643C-77AF-C64F-A853-95641D95867E}"/>
                </a:ext>
              </a:extLst>
            </p:cNvPr>
            <p:cNvSpPr txBox="1"/>
            <p:nvPr/>
          </p:nvSpPr>
          <p:spPr>
            <a:xfrm>
              <a:off x="844734" y="1896736"/>
              <a:ext cx="1438792" cy="238670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defTabSz="457200"/>
              <a:r>
                <a:rPr lang="en-US" sz="1600" b="1">
                  <a:solidFill>
                    <a:prstClr val="black"/>
                  </a:solidFill>
                  <a:latin typeface="Calibri" panose="020F0502020204030204"/>
                </a:rPr>
                <a:t>Object Detection</a:t>
              </a:r>
            </a:p>
          </p:txBody>
        </p:sp>
      </p:grp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7DF30D82-A8DE-9640-BF50-897832AB075E}"/>
              </a:ext>
            </a:extLst>
          </p:cNvPr>
          <p:cNvCxnSpPr>
            <a:cxnSpLocks/>
          </p:cNvCxnSpPr>
          <p:nvPr/>
        </p:nvCxnSpPr>
        <p:spPr>
          <a:xfrm flipH="1">
            <a:off x="5073479" y="4260887"/>
            <a:ext cx="19313" cy="1239662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B663D15B-F71D-1B4E-8581-1A830E72AA88}"/>
              </a:ext>
            </a:extLst>
          </p:cNvPr>
          <p:cNvCxnSpPr/>
          <p:nvPr/>
        </p:nvCxnSpPr>
        <p:spPr>
          <a:xfrm flipH="1">
            <a:off x="4213816" y="5500203"/>
            <a:ext cx="869319" cy="0"/>
          </a:xfrm>
          <a:prstGeom prst="straightConnector1">
            <a:avLst/>
          </a:prstGeom>
          <a:ln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FB4C2BD7-DD57-B948-ACCE-9B9CD9356BE4}"/>
              </a:ext>
            </a:extLst>
          </p:cNvPr>
          <p:cNvCxnSpPr>
            <a:cxnSpLocks/>
          </p:cNvCxnSpPr>
          <p:nvPr/>
        </p:nvCxnSpPr>
        <p:spPr>
          <a:xfrm>
            <a:off x="6298622" y="4260888"/>
            <a:ext cx="0" cy="1196859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Arrow Connector 28">
            <a:extLst>
              <a:ext uri="{FF2B5EF4-FFF2-40B4-BE49-F238E27FC236}">
                <a16:creationId xmlns:a16="http://schemas.microsoft.com/office/drawing/2014/main" id="{1D27D2FA-220F-8944-9B6A-B2D24980CBF8}"/>
              </a:ext>
            </a:extLst>
          </p:cNvPr>
          <p:cNvCxnSpPr>
            <a:cxnSpLocks/>
          </p:cNvCxnSpPr>
          <p:nvPr/>
        </p:nvCxnSpPr>
        <p:spPr>
          <a:xfrm>
            <a:off x="6298623" y="5464105"/>
            <a:ext cx="941903" cy="0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BCD55CC4-A19E-2C42-BAEC-D0C4EBDCDBF8}"/>
              </a:ext>
            </a:extLst>
          </p:cNvPr>
          <p:cNvCxnSpPr>
            <a:cxnSpLocks/>
          </p:cNvCxnSpPr>
          <p:nvPr/>
        </p:nvCxnSpPr>
        <p:spPr>
          <a:xfrm>
            <a:off x="4843648" y="1785970"/>
            <a:ext cx="0" cy="538764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9BA94021-ABBD-B445-82A0-138776198C60}"/>
              </a:ext>
            </a:extLst>
          </p:cNvPr>
          <p:cNvCxnSpPr>
            <a:cxnSpLocks/>
          </p:cNvCxnSpPr>
          <p:nvPr/>
        </p:nvCxnSpPr>
        <p:spPr>
          <a:xfrm>
            <a:off x="6857220" y="1870437"/>
            <a:ext cx="1" cy="716919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Arrow Connector 31">
            <a:extLst>
              <a:ext uri="{FF2B5EF4-FFF2-40B4-BE49-F238E27FC236}">
                <a16:creationId xmlns:a16="http://schemas.microsoft.com/office/drawing/2014/main" id="{76EA7803-C07E-DB42-BBEE-CA744BB647B3}"/>
              </a:ext>
            </a:extLst>
          </p:cNvPr>
          <p:cNvCxnSpPr/>
          <p:nvPr/>
        </p:nvCxnSpPr>
        <p:spPr>
          <a:xfrm flipH="1">
            <a:off x="4004174" y="1797908"/>
            <a:ext cx="869319" cy="0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Arrow Connector 32">
            <a:extLst>
              <a:ext uri="{FF2B5EF4-FFF2-40B4-BE49-F238E27FC236}">
                <a16:creationId xmlns:a16="http://schemas.microsoft.com/office/drawing/2014/main" id="{2C1E1BAF-2943-F842-A681-7AB6A9E01B7D}"/>
              </a:ext>
            </a:extLst>
          </p:cNvPr>
          <p:cNvCxnSpPr>
            <a:cxnSpLocks/>
          </p:cNvCxnSpPr>
          <p:nvPr/>
        </p:nvCxnSpPr>
        <p:spPr>
          <a:xfrm flipV="1">
            <a:off x="6841098" y="1858534"/>
            <a:ext cx="921516" cy="14599"/>
          </a:xfrm>
          <a:prstGeom prst="straightConnector1">
            <a:avLst/>
          </a:prstGeom>
          <a:ln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5553515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7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1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5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5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7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8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9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1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2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3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5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6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1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2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3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5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6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7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9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0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1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3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4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5" fill="hold">
                      <p:stCondLst>
                        <p:cond delay="indefinite"/>
                      </p:stCondLst>
                      <p:childTnLst>
                        <p:par>
                          <p:cTn id="76" fill="hold">
                            <p:stCondLst>
                              <p:cond delay="0"/>
                            </p:stCondLst>
                            <p:childTnLst>
                              <p:par>
                                <p:cTn id="77" presetID="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9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0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1" presetID="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3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4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6" grpId="0" animBg="1"/>
      <p:bldP spid="7" grpId="0" animBg="1"/>
      <p:bldP spid="8" grpId="0" animBg="1"/>
      <p:bldP spid="9" grpId="0" animBg="1"/>
      <p:bldP spid="10" grpId="0" animBg="1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>
            <a:extLst>
              <a:ext uri="{FF2B5EF4-FFF2-40B4-BE49-F238E27FC236}">
                <a16:creationId xmlns:a16="http://schemas.microsoft.com/office/drawing/2014/main" id="{AAFC420C-3A5D-4789-A697-DC3BBD29CEE3}"/>
              </a:ext>
            </a:extLst>
          </p:cNvPr>
          <p:cNvSpPr/>
          <p:nvPr/>
        </p:nvSpPr>
        <p:spPr>
          <a:xfrm>
            <a:off x="0" y="264294"/>
            <a:ext cx="1757680" cy="741204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C98781B0-9064-46C2-8497-AAAE84DCA1CC}"/>
              </a:ext>
            </a:extLst>
          </p:cNvPr>
          <p:cNvSpPr/>
          <p:nvPr/>
        </p:nvSpPr>
        <p:spPr>
          <a:xfrm>
            <a:off x="8575041" y="293170"/>
            <a:ext cx="3616959" cy="741204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2B495259-37AB-4B6D-BD31-B118894F75D0}"/>
              </a:ext>
            </a:extLst>
          </p:cNvPr>
          <p:cNvSpPr/>
          <p:nvPr/>
        </p:nvSpPr>
        <p:spPr>
          <a:xfrm>
            <a:off x="1757681" y="293170"/>
            <a:ext cx="6817360" cy="74120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dirty="0">
                <a:solidFill>
                  <a:schemeClr val="tx1"/>
                </a:solidFill>
              </a:rPr>
              <a:t>Timeline</a:t>
            </a:r>
          </a:p>
        </p:txBody>
      </p:sp>
      <p:sp>
        <p:nvSpPr>
          <p:cNvPr id="95" name="Freeform 5">
            <a:extLst>
              <a:ext uri="{FF2B5EF4-FFF2-40B4-BE49-F238E27FC236}">
                <a16:creationId xmlns:a16="http://schemas.microsoft.com/office/drawing/2014/main" id="{1550DB06-1C4A-4844-ADD7-FF5AC8F50E05}"/>
              </a:ext>
            </a:extLst>
          </p:cNvPr>
          <p:cNvSpPr>
            <a:spLocks/>
          </p:cNvSpPr>
          <p:nvPr/>
        </p:nvSpPr>
        <p:spPr bwMode="auto">
          <a:xfrm>
            <a:off x="3998827" y="2594842"/>
            <a:ext cx="4194346" cy="3152277"/>
          </a:xfrm>
          <a:custGeom>
            <a:avLst/>
            <a:gdLst>
              <a:gd name="T0" fmla="*/ 522 w 1204"/>
              <a:gd name="T1" fmla="*/ 1077 h 1205"/>
              <a:gd name="T2" fmla="*/ 463 w 1204"/>
              <a:gd name="T3" fmla="*/ 602 h 1205"/>
              <a:gd name="T4" fmla="*/ 692 w 1204"/>
              <a:gd name="T5" fmla="*/ 106 h 1205"/>
              <a:gd name="T6" fmla="*/ 268 w 1204"/>
              <a:gd name="T7" fmla="*/ 0 h 1205"/>
              <a:gd name="T8" fmla="*/ 237 w 1204"/>
              <a:gd name="T9" fmla="*/ 28 h 1205"/>
              <a:gd name="T10" fmla="*/ 616 w 1204"/>
              <a:gd name="T11" fmla="*/ 123 h 1205"/>
              <a:gd name="T12" fmla="*/ 718 w 1204"/>
              <a:gd name="T13" fmla="*/ 427 h 1205"/>
              <a:gd name="T14" fmla="*/ 26 w 1204"/>
              <a:gd name="T15" fmla="*/ 845 h 1205"/>
              <a:gd name="T16" fmla="*/ 475 w 1204"/>
              <a:gd name="T17" fmla="*/ 1205 h 1205"/>
              <a:gd name="T18" fmla="*/ 662 w 1204"/>
              <a:gd name="T19" fmla="*/ 1119 h 1205"/>
              <a:gd name="T20" fmla="*/ 522 w 1204"/>
              <a:gd name="T21" fmla="*/ 1077 h 12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1204" h="1205">
                <a:moveTo>
                  <a:pt x="522" y="1077"/>
                </a:moveTo>
                <a:cubicBezTo>
                  <a:pt x="0" y="897"/>
                  <a:pt x="260" y="682"/>
                  <a:pt x="463" y="602"/>
                </a:cubicBezTo>
                <a:cubicBezTo>
                  <a:pt x="666" y="522"/>
                  <a:pt x="1204" y="330"/>
                  <a:pt x="692" y="106"/>
                </a:cubicBezTo>
                <a:cubicBezTo>
                  <a:pt x="692" y="106"/>
                  <a:pt x="513" y="40"/>
                  <a:pt x="268" y="0"/>
                </a:cubicBezTo>
                <a:cubicBezTo>
                  <a:pt x="237" y="28"/>
                  <a:pt x="237" y="28"/>
                  <a:pt x="237" y="28"/>
                </a:cubicBezTo>
                <a:cubicBezTo>
                  <a:pt x="415" y="59"/>
                  <a:pt x="519" y="90"/>
                  <a:pt x="616" y="123"/>
                </a:cubicBezTo>
                <a:cubicBezTo>
                  <a:pt x="774" y="177"/>
                  <a:pt x="930" y="311"/>
                  <a:pt x="718" y="427"/>
                </a:cubicBezTo>
                <a:cubicBezTo>
                  <a:pt x="506" y="543"/>
                  <a:pt x="44" y="661"/>
                  <a:pt x="26" y="845"/>
                </a:cubicBezTo>
                <a:cubicBezTo>
                  <a:pt x="13" y="972"/>
                  <a:pt x="185" y="1108"/>
                  <a:pt x="475" y="1205"/>
                </a:cubicBezTo>
                <a:cubicBezTo>
                  <a:pt x="662" y="1119"/>
                  <a:pt x="662" y="1119"/>
                  <a:pt x="662" y="1119"/>
                </a:cubicBezTo>
                <a:cubicBezTo>
                  <a:pt x="613" y="1106"/>
                  <a:pt x="566" y="1092"/>
                  <a:pt x="522" y="1077"/>
                </a:cubicBezTo>
                <a:close/>
              </a:path>
            </a:pathLst>
          </a:custGeom>
          <a:solidFill>
            <a:srgbClr val="3E4D6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96" name="Freeform 6">
            <a:extLst>
              <a:ext uri="{FF2B5EF4-FFF2-40B4-BE49-F238E27FC236}">
                <a16:creationId xmlns:a16="http://schemas.microsoft.com/office/drawing/2014/main" id="{93A2F8A3-01FC-384B-8460-1D7AA51F19F7}"/>
              </a:ext>
            </a:extLst>
          </p:cNvPr>
          <p:cNvSpPr>
            <a:spLocks/>
          </p:cNvSpPr>
          <p:nvPr/>
        </p:nvSpPr>
        <p:spPr bwMode="auto">
          <a:xfrm>
            <a:off x="1188180" y="2354372"/>
            <a:ext cx="1472413" cy="86799"/>
          </a:xfrm>
          <a:custGeom>
            <a:avLst/>
            <a:gdLst>
              <a:gd name="T0" fmla="*/ 0 w 515"/>
              <a:gd name="T1" fmla="*/ 2 h 30"/>
              <a:gd name="T2" fmla="*/ 0 w 515"/>
              <a:gd name="T3" fmla="*/ 23 h 30"/>
              <a:gd name="T4" fmla="*/ 504 w 515"/>
              <a:gd name="T5" fmla="*/ 30 h 30"/>
              <a:gd name="T6" fmla="*/ 515 w 515"/>
              <a:gd name="T7" fmla="*/ 18 h 30"/>
              <a:gd name="T8" fmla="*/ 0 w 515"/>
              <a:gd name="T9" fmla="*/ 2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15" h="30">
                <a:moveTo>
                  <a:pt x="0" y="2"/>
                </a:moveTo>
                <a:cubicBezTo>
                  <a:pt x="0" y="23"/>
                  <a:pt x="0" y="23"/>
                  <a:pt x="0" y="23"/>
                </a:cubicBezTo>
                <a:cubicBezTo>
                  <a:pt x="0" y="23"/>
                  <a:pt x="200" y="14"/>
                  <a:pt x="504" y="30"/>
                </a:cubicBezTo>
                <a:cubicBezTo>
                  <a:pt x="515" y="18"/>
                  <a:pt x="515" y="18"/>
                  <a:pt x="515" y="18"/>
                </a:cubicBezTo>
                <a:cubicBezTo>
                  <a:pt x="323" y="7"/>
                  <a:pt x="138" y="0"/>
                  <a:pt x="0" y="2"/>
                </a:cubicBezTo>
                <a:close/>
              </a:path>
            </a:pathLst>
          </a:custGeom>
          <a:solidFill>
            <a:srgbClr val="3E4D6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97" name="Freeform 7">
            <a:extLst>
              <a:ext uri="{FF2B5EF4-FFF2-40B4-BE49-F238E27FC236}">
                <a16:creationId xmlns:a16="http://schemas.microsoft.com/office/drawing/2014/main" id="{8F94900D-45F0-534D-9D1E-D0C0FE59FA9A}"/>
              </a:ext>
            </a:extLst>
          </p:cNvPr>
          <p:cNvSpPr>
            <a:spLocks/>
          </p:cNvSpPr>
          <p:nvPr/>
        </p:nvSpPr>
        <p:spPr bwMode="auto">
          <a:xfrm>
            <a:off x="2736072" y="2402175"/>
            <a:ext cx="2072110" cy="246191"/>
          </a:xfrm>
          <a:custGeom>
            <a:avLst/>
            <a:gdLst>
              <a:gd name="T0" fmla="*/ 595 w 725"/>
              <a:gd name="T1" fmla="*/ 43 h 86"/>
              <a:gd name="T2" fmla="*/ 13 w 725"/>
              <a:gd name="T3" fmla="*/ 0 h 86"/>
              <a:gd name="T4" fmla="*/ 0 w 725"/>
              <a:gd name="T5" fmla="*/ 12 h 86"/>
              <a:gd name="T6" fmla="*/ 298 w 725"/>
              <a:gd name="T7" fmla="*/ 36 h 86"/>
              <a:gd name="T8" fmla="*/ 695 w 725"/>
              <a:gd name="T9" fmla="*/ 86 h 86"/>
              <a:gd name="T10" fmla="*/ 725 w 725"/>
              <a:gd name="T11" fmla="*/ 58 h 86"/>
              <a:gd name="T12" fmla="*/ 595 w 725"/>
              <a:gd name="T13" fmla="*/ 43 h 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725" h="86">
                <a:moveTo>
                  <a:pt x="595" y="43"/>
                </a:moveTo>
                <a:cubicBezTo>
                  <a:pt x="430" y="28"/>
                  <a:pt x="220" y="12"/>
                  <a:pt x="13" y="0"/>
                </a:cubicBezTo>
                <a:cubicBezTo>
                  <a:pt x="0" y="12"/>
                  <a:pt x="0" y="12"/>
                  <a:pt x="0" y="12"/>
                </a:cubicBezTo>
                <a:cubicBezTo>
                  <a:pt x="92" y="18"/>
                  <a:pt x="192" y="25"/>
                  <a:pt x="298" y="36"/>
                </a:cubicBezTo>
                <a:cubicBezTo>
                  <a:pt x="461" y="53"/>
                  <a:pt x="590" y="69"/>
                  <a:pt x="695" y="86"/>
                </a:cubicBezTo>
                <a:cubicBezTo>
                  <a:pt x="725" y="58"/>
                  <a:pt x="725" y="58"/>
                  <a:pt x="725" y="58"/>
                </a:cubicBezTo>
                <a:cubicBezTo>
                  <a:pt x="683" y="52"/>
                  <a:pt x="639" y="47"/>
                  <a:pt x="595" y="43"/>
                </a:cubicBezTo>
                <a:close/>
              </a:path>
            </a:pathLst>
          </a:custGeom>
          <a:solidFill>
            <a:srgbClr val="ED7D3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98" name="Freeform 8">
            <a:extLst>
              <a:ext uri="{FF2B5EF4-FFF2-40B4-BE49-F238E27FC236}">
                <a16:creationId xmlns:a16="http://schemas.microsoft.com/office/drawing/2014/main" id="{9C82ED3A-5B86-B74E-AE4B-3D8C3996BF4A}"/>
              </a:ext>
            </a:extLst>
          </p:cNvPr>
          <p:cNvSpPr>
            <a:spLocks/>
          </p:cNvSpPr>
          <p:nvPr/>
        </p:nvSpPr>
        <p:spPr bwMode="auto">
          <a:xfrm>
            <a:off x="5767356" y="5555815"/>
            <a:ext cx="5072170" cy="850622"/>
          </a:xfrm>
          <a:custGeom>
            <a:avLst/>
            <a:gdLst>
              <a:gd name="T0" fmla="*/ 1775 w 1775"/>
              <a:gd name="T1" fmla="*/ 213 h 297"/>
              <a:gd name="T2" fmla="*/ 1443 w 1775"/>
              <a:gd name="T3" fmla="*/ 57 h 297"/>
              <a:gd name="T4" fmla="*/ 1397 w 1775"/>
              <a:gd name="T5" fmla="*/ 95 h 297"/>
              <a:gd name="T6" fmla="*/ 205 w 1775"/>
              <a:gd name="T7" fmla="*/ 0 h 297"/>
              <a:gd name="T8" fmla="*/ 0 w 1775"/>
              <a:gd name="T9" fmla="*/ 93 h 297"/>
              <a:gd name="T10" fmla="*/ 309 w 1775"/>
              <a:gd name="T11" fmla="*/ 153 h 297"/>
              <a:gd name="T12" fmla="*/ 1225 w 1775"/>
              <a:gd name="T13" fmla="*/ 235 h 297"/>
              <a:gd name="T14" fmla="*/ 1153 w 1775"/>
              <a:gd name="T15" fmla="*/ 297 h 297"/>
              <a:gd name="T16" fmla="*/ 1775 w 1775"/>
              <a:gd name="T17" fmla="*/ 213 h 2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775" h="297">
                <a:moveTo>
                  <a:pt x="1775" y="213"/>
                </a:moveTo>
                <a:cubicBezTo>
                  <a:pt x="1443" y="57"/>
                  <a:pt x="1443" y="57"/>
                  <a:pt x="1443" y="57"/>
                </a:cubicBezTo>
                <a:cubicBezTo>
                  <a:pt x="1397" y="95"/>
                  <a:pt x="1397" y="95"/>
                  <a:pt x="1397" y="95"/>
                </a:cubicBezTo>
                <a:cubicBezTo>
                  <a:pt x="1397" y="95"/>
                  <a:pt x="730" y="100"/>
                  <a:pt x="205" y="0"/>
                </a:cubicBezTo>
                <a:cubicBezTo>
                  <a:pt x="0" y="93"/>
                  <a:pt x="0" y="93"/>
                  <a:pt x="0" y="93"/>
                </a:cubicBezTo>
                <a:cubicBezTo>
                  <a:pt x="95" y="117"/>
                  <a:pt x="198" y="138"/>
                  <a:pt x="309" y="153"/>
                </a:cubicBezTo>
                <a:cubicBezTo>
                  <a:pt x="859" y="229"/>
                  <a:pt x="1225" y="235"/>
                  <a:pt x="1225" y="235"/>
                </a:cubicBezTo>
                <a:cubicBezTo>
                  <a:pt x="1153" y="297"/>
                  <a:pt x="1153" y="297"/>
                  <a:pt x="1153" y="297"/>
                </a:cubicBezTo>
                <a:lnTo>
                  <a:pt x="1775" y="213"/>
                </a:lnTo>
                <a:close/>
              </a:path>
            </a:pathLst>
          </a:custGeom>
          <a:solidFill>
            <a:srgbClr val="ED7D3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</a:endParaRPr>
          </a:p>
        </p:txBody>
      </p:sp>
      <p:grpSp>
        <p:nvGrpSpPr>
          <p:cNvPr id="108" name="Group 107">
            <a:extLst>
              <a:ext uri="{FF2B5EF4-FFF2-40B4-BE49-F238E27FC236}">
                <a16:creationId xmlns:a16="http://schemas.microsoft.com/office/drawing/2014/main" id="{698B419F-5E5D-DA43-BF49-FF39B6BD39C4}"/>
              </a:ext>
            </a:extLst>
          </p:cNvPr>
          <p:cNvGrpSpPr/>
          <p:nvPr/>
        </p:nvGrpSpPr>
        <p:grpSpPr>
          <a:xfrm>
            <a:off x="7477768" y="4297508"/>
            <a:ext cx="982710" cy="1672686"/>
            <a:chOff x="5997254" y="2460747"/>
            <a:chExt cx="1616607" cy="2669889"/>
          </a:xfrm>
        </p:grpSpPr>
        <p:sp>
          <p:nvSpPr>
            <p:cNvPr id="109" name="Rectangle 108">
              <a:extLst>
                <a:ext uri="{FF2B5EF4-FFF2-40B4-BE49-F238E27FC236}">
                  <a16:creationId xmlns:a16="http://schemas.microsoft.com/office/drawing/2014/main" id="{C60211EE-30DC-0F4D-91AA-EEE29C22E379}"/>
                </a:ext>
              </a:extLst>
            </p:cNvPr>
            <p:cNvSpPr/>
            <p:nvPr/>
          </p:nvSpPr>
          <p:spPr>
            <a:xfrm>
              <a:off x="6718887" y="4188899"/>
              <a:ext cx="191914" cy="941737"/>
            </a:xfrm>
            <a:prstGeom prst="rect">
              <a:avLst/>
            </a:prstGeom>
            <a:gradFill>
              <a:gsLst>
                <a:gs pos="0">
                  <a:sysClr val="windowText" lastClr="000000">
                    <a:lumMod val="75000"/>
                    <a:lumOff val="25000"/>
                    <a:shade val="30000"/>
                    <a:satMod val="115000"/>
                  </a:sysClr>
                </a:gs>
                <a:gs pos="50000">
                  <a:sysClr val="window" lastClr="FFFFFF"/>
                </a:gs>
                <a:gs pos="100000">
                  <a:sysClr val="windowText" lastClr="000000">
                    <a:lumMod val="75000"/>
                    <a:lumOff val="25000"/>
                    <a:shade val="100000"/>
                    <a:satMod val="115000"/>
                  </a:sysClr>
                </a:gs>
              </a:gsLst>
              <a:lin ang="0" scaled="0"/>
            </a:gra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914400">
                <a:defRPr/>
              </a:pPr>
              <a:endParaRPr lang="en-US" sz="1800" kern="0">
                <a:solidFill>
                  <a:prstClr val="white"/>
                </a:solidFill>
              </a:endParaRPr>
            </a:p>
          </p:txBody>
        </p:sp>
        <p:sp>
          <p:nvSpPr>
            <p:cNvPr id="112" name="Freeform 26">
              <a:extLst>
                <a:ext uri="{FF2B5EF4-FFF2-40B4-BE49-F238E27FC236}">
                  <a16:creationId xmlns:a16="http://schemas.microsoft.com/office/drawing/2014/main" id="{9D9027ED-2421-C04D-927B-CB032CE62B3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97254" y="2460747"/>
              <a:ext cx="1616607" cy="1618702"/>
            </a:xfrm>
            <a:custGeom>
              <a:avLst/>
              <a:gdLst>
                <a:gd name="T0" fmla="*/ 323 w 326"/>
                <a:gd name="T1" fmla="*/ 157 h 326"/>
                <a:gd name="T2" fmla="*/ 169 w 326"/>
                <a:gd name="T3" fmla="*/ 2 h 326"/>
                <a:gd name="T4" fmla="*/ 163 w 326"/>
                <a:gd name="T5" fmla="*/ 0 h 326"/>
                <a:gd name="T6" fmla="*/ 157 w 326"/>
                <a:gd name="T7" fmla="*/ 2 h 326"/>
                <a:gd name="T8" fmla="*/ 3 w 326"/>
                <a:gd name="T9" fmla="*/ 157 h 326"/>
                <a:gd name="T10" fmla="*/ 0 w 326"/>
                <a:gd name="T11" fmla="*/ 163 h 326"/>
                <a:gd name="T12" fmla="*/ 3 w 326"/>
                <a:gd name="T13" fmla="*/ 169 h 326"/>
                <a:gd name="T14" fmla="*/ 157 w 326"/>
                <a:gd name="T15" fmla="*/ 323 h 326"/>
                <a:gd name="T16" fmla="*/ 163 w 326"/>
                <a:gd name="T17" fmla="*/ 326 h 326"/>
                <a:gd name="T18" fmla="*/ 169 w 326"/>
                <a:gd name="T19" fmla="*/ 323 h 326"/>
                <a:gd name="T20" fmla="*/ 323 w 326"/>
                <a:gd name="T21" fmla="*/ 169 h 326"/>
                <a:gd name="T22" fmla="*/ 326 w 326"/>
                <a:gd name="T23" fmla="*/ 163 h 326"/>
                <a:gd name="T24" fmla="*/ 323 w 326"/>
                <a:gd name="T25" fmla="*/ 157 h 326"/>
                <a:gd name="T26" fmla="*/ 306 w 326"/>
                <a:gd name="T27" fmla="*/ 168 h 326"/>
                <a:gd name="T28" fmla="*/ 168 w 326"/>
                <a:gd name="T29" fmla="*/ 306 h 326"/>
                <a:gd name="T30" fmla="*/ 163 w 326"/>
                <a:gd name="T31" fmla="*/ 308 h 326"/>
                <a:gd name="T32" fmla="*/ 157 w 326"/>
                <a:gd name="T33" fmla="*/ 306 h 326"/>
                <a:gd name="T34" fmla="*/ 20 w 326"/>
                <a:gd name="T35" fmla="*/ 168 h 326"/>
                <a:gd name="T36" fmla="*/ 17 w 326"/>
                <a:gd name="T37" fmla="*/ 163 h 326"/>
                <a:gd name="T38" fmla="*/ 20 w 326"/>
                <a:gd name="T39" fmla="*/ 157 h 326"/>
                <a:gd name="T40" fmla="*/ 157 w 326"/>
                <a:gd name="T41" fmla="*/ 19 h 326"/>
                <a:gd name="T42" fmla="*/ 163 w 326"/>
                <a:gd name="T43" fmla="*/ 17 h 326"/>
                <a:gd name="T44" fmla="*/ 168 w 326"/>
                <a:gd name="T45" fmla="*/ 19 h 326"/>
                <a:gd name="T46" fmla="*/ 306 w 326"/>
                <a:gd name="T47" fmla="*/ 157 h 326"/>
                <a:gd name="T48" fmla="*/ 309 w 326"/>
                <a:gd name="T49" fmla="*/ 163 h 326"/>
                <a:gd name="T50" fmla="*/ 306 w 326"/>
                <a:gd name="T51" fmla="*/ 168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26" h="326">
                  <a:moveTo>
                    <a:pt x="323" y="157"/>
                  </a:moveTo>
                  <a:cubicBezTo>
                    <a:pt x="169" y="2"/>
                    <a:pt x="169" y="2"/>
                    <a:pt x="169" y="2"/>
                  </a:cubicBezTo>
                  <a:cubicBezTo>
                    <a:pt x="167" y="0"/>
                    <a:pt x="164" y="0"/>
                    <a:pt x="163" y="0"/>
                  </a:cubicBezTo>
                  <a:cubicBezTo>
                    <a:pt x="162" y="0"/>
                    <a:pt x="159" y="0"/>
                    <a:pt x="157" y="2"/>
                  </a:cubicBezTo>
                  <a:cubicBezTo>
                    <a:pt x="3" y="157"/>
                    <a:pt x="3" y="157"/>
                    <a:pt x="3" y="157"/>
                  </a:cubicBezTo>
                  <a:cubicBezTo>
                    <a:pt x="1" y="158"/>
                    <a:pt x="0" y="160"/>
                    <a:pt x="0" y="163"/>
                  </a:cubicBezTo>
                  <a:cubicBezTo>
                    <a:pt x="0" y="165"/>
                    <a:pt x="1" y="167"/>
                    <a:pt x="3" y="169"/>
                  </a:cubicBezTo>
                  <a:cubicBezTo>
                    <a:pt x="157" y="323"/>
                    <a:pt x="157" y="323"/>
                    <a:pt x="157" y="323"/>
                  </a:cubicBezTo>
                  <a:cubicBezTo>
                    <a:pt x="159" y="325"/>
                    <a:pt x="162" y="326"/>
                    <a:pt x="163" y="326"/>
                  </a:cubicBezTo>
                  <a:cubicBezTo>
                    <a:pt x="164" y="326"/>
                    <a:pt x="167" y="325"/>
                    <a:pt x="169" y="323"/>
                  </a:cubicBezTo>
                  <a:cubicBezTo>
                    <a:pt x="323" y="169"/>
                    <a:pt x="323" y="169"/>
                    <a:pt x="323" y="169"/>
                  </a:cubicBezTo>
                  <a:cubicBezTo>
                    <a:pt x="325" y="167"/>
                    <a:pt x="326" y="164"/>
                    <a:pt x="326" y="163"/>
                  </a:cubicBezTo>
                  <a:cubicBezTo>
                    <a:pt x="326" y="161"/>
                    <a:pt x="325" y="159"/>
                    <a:pt x="323" y="157"/>
                  </a:cubicBezTo>
                  <a:close/>
                  <a:moveTo>
                    <a:pt x="306" y="168"/>
                  </a:moveTo>
                  <a:cubicBezTo>
                    <a:pt x="168" y="306"/>
                    <a:pt x="168" y="306"/>
                    <a:pt x="168" y="306"/>
                  </a:cubicBezTo>
                  <a:cubicBezTo>
                    <a:pt x="167" y="308"/>
                    <a:pt x="164" y="308"/>
                    <a:pt x="163" y="308"/>
                  </a:cubicBezTo>
                  <a:cubicBezTo>
                    <a:pt x="162" y="308"/>
                    <a:pt x="159" y="308"/>
                    <a:pt x="157" y="306"/>
                  </a:cubicBezTo>
                  <a:cubicBezTo>
                    <a:pt x="20" y="168"/>
                    <a:pt x="20" y="168"/>
                    <a:pt x="20" y="168"/>
                  </a:cubicBezTo>
                  <a:cubicBezTo>
                    <a:pt x="18" y="167"/>
                    <a:pt x="17" y="165"/>
                    <a:pt x="17" y="163"/>
                  </a:cubicBezTo>
                  <a:cubicBezTo>
                    <a:pt x="17" y="161"/>
                    <a:pt x="18" y="159"/>
                    <a:pt x="20" y="157"/>
                  </a:cubicBezTo>
                  <a:cubicBezTo>
                    <a:pt x="157" y="19"/>
                    <a:pt x="157" y="19"/>
                    <a:pt x="157" y="19"/>
                  </a:cubicBezTo>
                  <a:cubicBezTo>
                    <a:pt x="159" y="17"/>
                    <a:pt x="162" y="17"/>
                    <a:pt x="163" y="17"/>
                  </a:cubicBezTo>
                  <a:cubicBezTo>
                    <a:pt x="164" y="17"/>
                    <a:pt x="167" y="17"/>
                    <a:pt x="168" y="19"/>
                  </a:cubicBezTo>
                  <a:cubicBezTo>
                    <a:pt x="306" y="157"/>
                    <a:pt x="306" y="157"/>
                    <a:pt x="306" y="157"/>
                  </a:cubicBezTo>
                  <a:cubicBezTo>
                    <a:pt x="308" y="159"/>
                    <a:pt x="309" y="161"/>
                    <a:pt x="309" y="163"/>
                  </a:cubicBezTo>
                  <a:cubicBezTo>
                    <a:pt x="309" y="164"/>
                    <a:pt x="308" y="166"/>
                    <a:pt x="306" y="168"/>
                  </a:cubicBezTo>
                  <a:close/>
                </a:path>
              </a:pathLst>
            </a:custGeom>
            <a:solidFill>
              <a:sysClr val="windowText" lastClr="000000">
                <a:lumMod val="85000"/>
                <a:lumOff val="15000"/>
              </a:sys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>
                <a:defRPr/>
              </a:pPr>
              <a:endParaRPr lang="en-US" sz="1800" kern="0">
                <a:solidFill>
                  <a:prstClr val="black"/>
                </a:solidFill>
              </a:endParaRPr>
            </a:p>
          </p:txBody>
        </p:sp>
      </p:grpSp>
      <p:grpSp>
        <p:nvGrpSpPr>
          <p:cNvPr id="113" name="Group 112">
            <a:extLst>
              <a:ext uri="{FF2B5EF4-FFF2-40B4-BE49-F238E27FC236}">
                <a16:creationId xmlns:a16="http://schemas.microsoft.com/office/drawing/2014/main" id="{B6F5441E-CA1B-E747-BF6F-48FA30B08546}"/>
              </a:ext>
            </a:extLst>
          </p:cNvPr>
          <p:cNvGrpSpPr/>
          <p:nvPr/>
        </p:nvGrpSpPr>
        <p:grpSpPr>
          <a:xfrm>
            <a:off x="3875013" y="3459132"/>
            <a:ext cx="897235" cy="1468846"/>
            <a:chOff x="5997254" y="2460747"/>
            <a:chExt cx="1616607" cy="2669889"/>
          </a:xfrm>
        </p:grpSpPr>
        <p:sp>
          <p:nvSpPr>
            <p:cNvPr id="114" name="Rectangle 113">
              <a:extLst>
                <a:ext uri="{FF2B5EF4-FFF2-40B4-BE49-F238E27FC236}">
                  <a16:creationId xmlns:a16="http://schemas.microsoft.com/office/drawing/2014/main" id="{6C97D45F-B86D-934A-84AC-565B8CBCC4F4}"/>
                </a:ext>
              </a:extLst>
            </p:cNvPr>
            <p:cNvSpPr/>
            <p:nvPr/>
          </p:nvSpPr>
          <p:spPr>
            <a:xfrm>
              <a:off x="6718887" y="4188899"/>
              <a:ext cx="191914" cy="941737"/>
            </a:xfrm>
            <a:prstGeom prst="rect">
              <a:avLst/>
            </a:prstGeom>
            <a:gradFill>
              <a:gsLst>
                <a:gs pos="0">
                  <a:sysClr val="windowText" lastClr="000000">
                    <a:lumMod val="75000"/>
                    <a:lumOff val="25000"/>
                    <a:shade val="30000"/>
                    <a:satMod val="115000"/>
                  </a:sysClr>
                </a:gs>
                <a:gs pos="50000">
                  <a:sysClr val="window" lastClr="FFFFFF"/>
                </a:gs>
                <a:gs pos="100000">
                  <a:sysClr val="windowText" lastClr="000000">
                    <a:lumMod val="75000"/>
                    <a:lumOff val="25000"/>
                    <a:shade val="100000"/>
                    <a:satMod val="115000"/>
                  </a:sysClr>
                </a:gs>
              </a:gsLst>
              <a:lin ang="0" scaled="0"/>
            </a:gra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914400">
                <a:defRPr/>
              </a:pPr>
              <a:endParaRPr lang="en-US" sz="1800" kern="0">
                <a:solidFill>
                  <a:prstClr val="white"/>
                </a:solidFill>
              </a:endParaRPr>
            </a:p>
          </p:txBody>
        </p:sp>
        <p:sp>
          <p:nvSpPr>
            <p:cNvPr id="117" name="Freeform 26">
              <a:extLst>
                <a:ext uri="{FF2B5EF4-FFF2-40B4-BE49-F238E27FC236}">
                  <a16:creationId xmlns:a16="http://schemas.microsoft.com/office/drawing/2014/main" id="{B5FD2F55-DC5B-5642-9470-DE5B6BCE736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97254" y="2460747"/>
              <a:ext cx="1616607" cy="1618702"/>
            </a:xfrm>
            <a:custGeom>
              <a:avLst/>
              <a:gdLst>
                <a:gd name="T0" fmla="*/ 323 w 326"/>
                <a:gd name="T1" fmla="*/ 157 h 326"/>
                <a:gd name="T2" fmla="*/ 169 w 326"/>
                <a:gd name="T3" fmla="*/ 2 h 326"/>
                <a:gd name="T4" fmla="*/ 163 w 326"/>
                <a:gd name="T5" fmla="*/ 0 h 326"/>
                <a:gd name="T6" fmla="*/ 157 w 326"/>
                <a:gd name="T7" fmla="*/ 2 h 326"/>
                <a:gd name="T8" fmla="*/ 3 w 326"/>
                <a:gd name="T9" fmla="*/ 157 h 326"/>
                <a:gd name="T10" fmla="*/ 0 w 326"/>
                <a:gd name="T11" fmla="*/ 163 h 326"/>
                <a:gd name="T12" fmla="*/ 3 w 326"/>
                <a:gd name="T13" fmla="*/ 169 h 326"/>
                <a:gd name="T14" fmla="*/ 157 w 326"/>
                <a:gd name="T15" fmla="*/ 323 h 326"/>
                <a:gd name="T16" fmla="*/ 163 w 326"/>
                <a:gd name="T17" fmla="*/ 326 h 326"/>
                <a:gd name="T18" fmla="*/ 169 w 326"/>
                <a:gd name="T19" fmla="*/ 323 h 326"/>
                <a:gd name="T20" fmla="*/ 323 w 326"/>
                <a:gd name="T21" fmla="*/ 169 h 326"/>
                <a:gd name="T22" fmla="*/ 326 w 326"/>
                <a:gd name="T23" fmla="*/ 163 h 326"/>
                <a:gd name="T24" fmla="*/ 323 w 326"/>
                <a:gd name="T25" fmla="*/ 157 h 326"/>
                <a:gd name="T26" fmla="*/ 306 w 326"/>
                <a:gd name="T27" fmla="*/ 168 h 326"/>
                <a:gd name="T28" fmla="*/ 168 w 326"/>
                <a:gd name="T29" fmla="*/ 306 h 326"/>
                <a:gd name="T30" fmla="*/ 163 w 326"/>
                <a:gd name="T31" fmla="*/ 308 h 326"/>
                <a:gd name="T32" fmla="*/ 157 w 326"/>
                <a:gd name="T33" fmla="*/ 306 h 326"/>
                <a:gd name="T34" fmla="*/ 20 w 326"/>
                <a:gd name="T35" fmla="*/ 168 h 326"/>
                <a:gd name="T36" fmla="*/ 17 w 326"/>
                <a:gd name="T37" fmla="*/ 163 h 326"/>
                <a:gd name="T38" fmla="*/ 20 w 326"/>
                <a:gd name="T39" fmla="*/ 157 h 326"/>
                <a:gd name="T40" fmla="*/ 157 w 326"/>
                <a:gd name="T41" fmla="*/ 19 h 326"/>
                <a:gd name="T42" fmla="*/ 163 w 326"/>
                <a:gd name="T43" fmla="*/ 17 h 326"/>
                <a:gd name="T44" fmla="*/ 168 w 326"/>
                <a:gd name="T45" fmla="*/ 19 h 326"/>
                <a:gd name="T46" fmla="*/ 306 w 326"/>
                <a:gd name="T47" fmla="*/ 157 h 326"/>
                <a:gd name="T48" fmla="*/ 309 w 326"/>
                <a:gd name="T49" fmla="*/ 163 h 326"/>
                <a:gd name="T50" fmla="*/ 306 w 326"/>
                <a:gd name="T51" fmla="*/ 168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26" h="326">
                  <a:moveTo>
                    <a:pt x="323" y="157"/>
                  </a:moveTo>
                  <a:cubicBezTo>
                    <a:pt x="169" y="2"/>
                    <a:pt x="169" y="2"/>
                    <a:pt x="169" y="2"/>
                  </a:cubicBezTo>
                  <a:cubicBezTo>
                    <a:pt x="167" y="0"/>
                    <a:pt x="164" y="0"/>
                    <a:pt x="163" y="0"/>
                  </a:cubicBezTo>
                  <a:cubicBezTo>
                    <a:pt x="162" y="0"/>
                    <a:pt x="159" y="0"/>
                    <a:pt x="157" y="2"/>
                  </a:cubicBezTo>
                  <a:cubicBezTo>
                    <a:pt x="3" y="157"/>
                    <a:pt x="3" y="157"/>
                    <a:pt x="3" y="157"/>
                  </a:cubicBezTo>
                  <a:cubicBezTo>
                    <a:pt x="1" y="158"/>
                    <a:pt x="0" y="160"/>
                    <a:pt x="0" y="163"/>
                  </a:cubicBezTo>
                  <a:cubicBezTo>
                    <a:pt x="0" y="165"/>
                    <a:pt x="1" y="167"/>
                    <a:pt x="3" y="169"/>
                  </a:cubicBezTo>
                  <a:cubicBezTo>
                    <a:pt x="157" y="323"/>
                    <a:pt x="157" y="323"/>
                    <a:pt x="157" y="323"/>
                  </a:cubicBezTo>
                  <a:cubicBezTo>
                    <a:pt x="159" y="325"/>
                    <a:pt x="162" y="326"/>
                    <a:pt x="163" y="326"/>
                  </a:cubicBezTo>
                  <a:cubicBezTo>
                    <a:pt x="164" y="326"/>
                    <a:pt x="167" y="325"/>
                    <a:pt x="169" y="323"/>
                  </a:cubicBezTo>
                  <a:cubicBezTo>
                    <a:pt x="323" y="169"/>
                    <a:pt x="323" y="169"/>
                    <a:pt x="323" y="169"/>
                  </a:cubicBezTo>
                  <a:cubicBezTo>
                    <a:pt x="325" y="167"/>
                    <a:pt x="326" y="164"/>
                    <a:pt x="326" y="163"/>
                  </a:cubicBezTo>
                  <a:cubicBezTo>
                    <a:pt x="326" y="161"/>
                    <a:pt x="325" y="159"/>
                    <a:pt x="323" y="157"/>
                  </a:cubicBezTo>
                  <a:close/>
                  <a:moveTo>
                    <a:pt x="306" y="168"/>
                  </a:moveTo>
                  <a:cubicBezTo>
                    <a:pt x="168" y="306"/>
                    <a:pt x="168" y="306"/>
                    <a:pt x="168" y="306"/>
                  </a:cubicBezTo>
                  <a:cubicBezTo>
                    <a:pt x="167" y="308"/>
                    <a:pt x="164" y="308"/>
                    <a:pt x="163" y="308"/>
                  </a:cubicBezTo>
                  <a:cubicBezTo>
                    <a:pt x="162" y="308"/>
                    <a:pt x="159" y="308"/>
                    <a:pt x="157" y="306"/>
                  </a:cubicBezTo>
                  <a:cubicBezTo>
                    <a:pt x="20" y="168"/>
                    <a:pt x="20" y="168"/>
                    <a:pt x="20" y="168"/>
                  </a:cubicBezTo>
                  <a:cubicBezTo>
                    <a:pt x="18" y="167"/>
                    <a:pt x="17" y="165"/>
                    <a:pt x="17" y="163"/>
                  </a:cubicBezTo>
                  <a:cubicBezTo>
                    <a:pt x="17" y="161"/>
                    <a:pt x="18" y="159"/>
                    <a:pt x="20" y="157"/>
                  </a:cubicBezTo>
                  <a:cubicBezTo>
                    <a:pt x="157" y="19"/>
                    <a:pt x="157" y="19"/>
                    <a:pt x="157" y="19"/>
                  </a:cubicBezTo>
                  <a:cubicBezTo>
                    <a:pt x="159" y="17"/>
                    <a:pt x="162" y="17"/>
                    <a:pt x="163" y="17"/>
                  </a:cubicBezTo>
                  <a:cubicBezTo>
                    <a:pt x="164" y="17"/>
                    <a:pt x="167" y="17"/>
                    <a:pt x="168" y="19"/>
                  </a:cubicBezTo>
                  <a:cubicBezTo>
                    <a:pt x="306" y="157"/>
                    <a:pt x="306" y="157"/>
                    <a:pt x="306" y="157"/>
                  </a:cubicBezTo>
                  <a:cubicBezTo>
                    <a:pt x="308" y="159"/>
                    <a:pt x="309" y="161"/>
                    <a:pt x="309" y="163"/>
                  </a:cubicBezTo>
                  <a:cubicBezTo>
                    <a:pt x="309" y="164"/>
                    <a:pt x="308" y="166"/>
                    <a:pt x="306" y="168"/>
                  </a:cubicBezTo>
                  <a:close/>
                </a:path>
              </a:pathLst>
            </a:custGeom>
            <a:solidFill>
              <a:sysClr val="windowText" lastClr="000000">
                <a:lumMod val="85000"/>
                <a:lumOff val="15000"/>
              </a:sys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>
                <a:defRPr/>
              </a:pPr>
              <a:endParaRPr lang="en-US" sz="1800" kern="0">
                <a:solidFill>
                  <a:prstClr val="black"/>
                </a:solidFill>
              </a:endParaRPr>
            </a:p>
          </p:txBody>
        </p:sp>
      </p:grpSp>
      <p:grpSp>
        <p:nvGrpSpPr>
          <p:cNvPr id="118" name="Group 117">
            <a:extLst>
              <a:ext uri="{FF2B5EF4-FFF2-40B4-BE49-F238E27FC236}">
                <a16:creationId xmlns:a16="http://schemas.microsoft.com/office/drawing/2014/main" id="{9D6DBC83-B142-9843-9B04-F749A459623E}"/>
              </a:ext>
            </a:extLst>
          </p:cNvPr>
          <p:cNvGrpSpPr/>
          <p:nvPr/>
        </p:nvGrpSpPr>
        <p:grpSpPr>
          <a:xfrm>
            <a:off x="4159120" y="1354611"/>
            <a:ext cx="737836" cy="1213087"/>
            <a:chOff x="5997253" y="2460747"/>
            <a:chExt cx="1616607" cy="2669889"/>
          </a:xfrm>
        </p:grpSpPr>
        <p:sp>
          <p:nvSpPr>
            <p:cNvPr id="119" name="Rectangle 118">
              <a:extLst>
                <a:ext uri="{FF2B5EF4-FFF2-40B4-BE49-F238E27FC236}">
                  <a16:creationId xmlns:a16="http://schemas.microsoft.com/office/drawing/2014/main" id="{C2CAD4B3-977B-8A4A-B542-77530BBFE579}"/>
                </a:ext>
              </a:extLst>
            </p:cNvPr>
            <p:cNvSpPr/>
            <p:nvPr/>
          </p:nvSpPr>
          <p:spPr>
            <a:xfrm>
              <a:off x="6718887" y="4188899"/>
              <a:ext cx="191914" cy="941737"/>
            </a:xfrm>
            <a:prstGeom prst="rect">
              <a:avLst/>
            </a:prstGeom>
            <a:gradFill>
              <a:gsLst>
                <a:gs pos="0">
                  <a:sysClr val="windowText" lastClr="000000">
                    <a:lumMod val="75000"/>
                    <a:lumOff val="25000"/>
                    <a:shade val="30000"/>
                    <a:satMod val="115000"/>
                  </a:sysClr>
                </a:gs>
                <a:gs pos="50000">
                  <a:sysClr val="window" lastClr="FFFFFF"/>
                </a:gs>
                <a:gs pos="100000">
                  <a:sysClr val="windowText" lastClr="000000">
                    <a:lumMod val="75000"/>
                    <a:lumOff val="25000"/>
                    <a:shade val="100000"/>
                    <a:satMod val="115000"/>
                  </a:sysClr>
                </a:gs>
              </a:gsLst>
              <a:lin ang="0" scaled="0"/>
            </a:gra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914400">
                <a:defRPr/>
              </a:pPr>
              <a:endParaRPr lang="en-US" sz="1800" kern="0">
                <a:solidFill>
                  <a:prstClr val="white"/>
                </a:solidFill>
              </a:endParaRPr>
            </a:p>
          </p:txBody>
        </p:sp>
        <p:sp>
          <p:nvSpPr>
            <p:cNvPr id="122" name="Freeform 26">
              <a:extLst>
                <a:ext uri="{FF2B5EF4-FFF2-40B4-BE49-F238E27FC236}">
                  <a16:creationId xmlns:a16="http://schemas.microsoft.com/office/drawing/2014/main" id="{58942852-BA2F-BD4B-B1B7-1B84630C5C6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97253" y="2460747"/>
              <a:ext cx="1616607" cy="1618702"/>
            </a:xfrm>
            <a:custGeom>
              <a:avLst/>
              <a:gdLst>
                <a:gd name="T0" fmla="*/ 323 w 326"/>
                <a:gd name="T1" fmla="*/ 157 h 326"/>
                <a:gd name="T2" fmla="*/ 169 w 326"/>
                <a:gd name="T3" fmla="*/ 2 h 326"/>
                <a:gd name="T4" fmla="*/ 163 w 326"/>
                <a:gd name="T5" fmla="*/ 0 h 326"/>
                <a:gd name="T6" fmla="*/ 157 w 326"/>
                <a:gd name="T7" fmla="*/ 2 h 326"/>
                <a:gd name="T8" fmla="*/ 3 w 326"/>
                <a:gd name="T9" fmla="*/ 157 h 326"/>
                <a:gd name="T10" fmla="*/ 0 w 326"/>
                <a:gd name="T11" fmla="*/ 163 h 326"/>
                <a:gd name="T12" fmla="*/ 3 w 326"/>
                <a:gd name="T13" fmla="*/ 169 h 326"/>
                <a:gd name="T14" fmla="*/ 157 w 326"/>
                <a:gd name="T15" fmla="*/ 323 h 326"/>
                <a:gd name="T16" fmla="*/ 163 w 326"/>
                <a:gd name="T17" fmla="*/ 326 h 326"/>
                <a:gd name="T18" fmla="*/ 169 w 326"/>
                <a:gd name="T19" fmla="*/ 323 h 326"/>
                <a:gd name="T20" fmla="*/ 323 w 326"/>
                <a:gd name="T21" fmla="*/ 169 h 326"/>
                <a:gd name="T22" fmla="*/ 326 w 326"/>
                <a:gd name="T23" fmla="*/ 163 h 326"/>
                <a:gd name="T24" fmla="*/ 323 w 326"/>
                <a:gd name="T25" fmla="*/ 157 h 326"/>
                <a:gd name="T26" fmla="*/ 306 w 326"/>
                <a:gd name="T27" fmla="*/ 168 h 326"/>
                <a:gd name="T28" fmla="*/ 168 w 326"/>
                <a:gd name="T29" fmla="*/ 306 h 326"/>
                <a:gd name="T30" fmla="*/ 163 w 326"/>
                <a:gd name="T31" fmla="*/ 308 h 326"/>
                <a:gd name="T32" fmla="*/ 157 w 326"/>
                <a:gd name="T33" fmla="*/ 306 h 326"/>
                <a:gd name="T34" fmla="*/ 20 w 326"/>
                <a:gd name="T35" fmla="*/ 168 h 326"/>
                <a:gd name="T36" fmla="*/ 17 w 326"/>
                <a:gd name="T37" fmla="*/ 163 h 326"/>
                <a:gd name="T38" fmla="*/ 20 w 326"/>
                <a:gd name="T39" fmla="*/ 157 h 326"/>
                <a:gd name="T40" fmla="*/ 157 w 326"/>
                <a:gd name="T41" fmla="*/ 19 h 326"/>
                <a:gd name="T42" fmla="*/ 163 w 326"/>
                <a:gd name="T43" fmla="*/ 17 h 326"/>
                <a:gd name="T44" fmla="*/ 168 w 326"/>
                <a:gd name="T45" fmla="*/ 19 h 326"/>
                <a:gd name="T46" fmla="*/ 306 w 326"/>
                <a:gd name="T47" fmla="*/ 157 h 326"/>
                <a:gd name="T48" fmla="*/ 309 w 326"/>
                <a:gd name="T49" fmla="*/ 163 h 326"/>
                <a:gd name="T50" fmla="*/ 306 w 326"/>
                <a:gd name="T51" fmla="*/ 168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26" h="326">
                  <a:moveTo>
                    <a:pt x="323" y="157"/>
                  </a:moveTo>
                  <a:cubicBezTo>
                    <a:pt x="169" y="2"/>
                    <a:pt x="169" y="2"/>
                    <a:pt x="169" y="2"/>
                  </a:cubicBezTo>
                  <a:cubicBezTo>
                    <a:pt x="167" y="0"/>
                    <a:pt x="164" y="0"/>
                    <a:pt x="163" y="0"/>
                  </a:cubicBezTo>
                  <a:cubicBezTo>
                    <a:pt x="162" y="0"/>
                    <a:pt x="159" y="0"/>
                    <a:pt x="157" y="2"/>
                  </a:cubicBezTo>
                  <a:cubicBezTo>
                    <a:pt x="3" y="157"/>
                    <a:pt x="3" y="157"/>
                    <a:pt x="3" y="157"/>
                  </a:cubicBezTo>
                  <a:cubicBezTo>
                    <a:pt x="1" y="158"/>
                    <a:pt x="0" y="160"/>
                    <a:pt x="0" y="163"/>
                  </a:cubicBezTo>
                  <a:cubicBezTo>
                    <a:pt x="0" y="165"/>
                    <a:pt x="1" y="167"/>
                    <a:pt x="3" y="169"/>
                  </a:cubicBezTo>
                  <a:cubicBezTo>
                    <a:pt x="157" y="323"/>
                    <a:pt x="157" y="323"/>
                    <a:pt x="157" y="323"/>
                  </a:cubicBezTo>
                  <a:cubicBezTo>
                    <a:pt x="159" y="325"/>
                    <a:pt x="162" y="326"/>
                    <a:pt x="163" y="326"/>
                  </a:cubicBezTo>
                  <a:cubicBezTo>
                    <a:pt x="164" y="326"/>
                    <a:pt x="167" y="325"/>
                    <a:pt x="169" y="323"/>
                  </a:cubicBezTo>
                  <a:cubicBezTo>
                    <a:pt x="323" y="169"/>
                    <a:pt x="323" y="169"/>
                    <a:pt x="323" y="169"/>
                  </a:cubicBezTo>
                  <a:cubicBezTo>
                    <a:pt x="325" y="167"/>
                    <a:pt x="326" y="164"/>
                    <a:pt x="326" y="163"/>
                  </a:cubicBezTo>
                  <a:cubicBezTo>
                    <a:pt x="326" y="161"/>
                    <a:pt x="325" y="159"/>
                    <a:pt x="323" y="157"/>
                  </a:cubicBezTo>
                  <a:close/>
                  <a:moveTo>
                    <a:pt x="306" y="168"/>
                  </a:moveTo>
                  <a:cubicBezTo>
                    <a:pt x="168" y="306"/>
                    <a:pt x="168" y="306"/>
                    <a:pt x="168" y="306"/>
                  </a:cubicBezTo>
                  <a:cubicBezTo>
                    <a:pt x="167" y="308"/>
                    <a:pt x="164" y="308"/>
                    <a:pt x="163" y="308"/>
                  </a:cubicBezTo>
                  <a:cubicBezTo>
                    <a:pt x="162" y="308"/>
                    <a:pt x="159" y="308"/>
                    <a:pt x="157" y="306"/>
                  </a:cubicBezTo>
                  <a:cubicBezTo>
                    <a:pt x="20" y="168"/>
                    <a:pt x="20" y="168"/>
                    <a:pt x="20" y="168"/>
                  </a:cubicBezTo>
                  <a:cubicBezTo>
                    <a:pt x="18" y="167"/>
                    <a:pt x="17" y="165"/>
                    <a:pt x="17" y="163"/>
                  </a:cubicBezTo>
                  <a:cubicBezTo>
                    <a:pt x="17" y="161"/>
                    <a:pt x="18" y="159"/>
                    <a:pt x="20" y="157"/>
                  </a:cubicBezTo>
                  <a:cubicBezTo>
                    <a:pt x="157" y="19"/>
                    <a:pt x="157" y="19"/>
                    <a:pt x="157" y="19"/>
                  </a:cubicBezTo>
                  <a:cubicBezTo>
                    <a:pt x="159" y="17"/>
                    <a:pt x="162" y="17"/>
                    <a:pt x="163" y="17"/>
                  </a:cubicBezTo>
                  <a:cubicBezTo>
                    <a:pt x="164" y="17"/>
                    <a:pt x="167" y="17"/>
                    <a:pt x="168" y="19"/>
                  </a:cubicBezTo>
                  <a:cubicBezTo>
                    <a:pt x="306" y="157"/>
                    <a:pt x="306" y="157"/>
                    <a:pt x="306" y="157"/>
                  </a:cubicBezTo>
                  <a:cubicBezTo>
                    <a:pt x="308" y="159"/>
                    <a:pt x="309" y="161"/>
                    <a:pt x="309" y="163"/>
                  </a:cubicBezTo>
                  <a:cubicBezTo>
                    <a:pt x="309" y="164"/>
                    <a:pt x="308" y="166"/>
                    <a:pt x="306" y="168"/>
                  </a:cubicBezTo>
                  <a:close/>
                </a:path>
              </a:pathLst>
            </a:custGeom>
            <a:solidFill>
              <a:sysClr val="windowText" lastClr="000000">
                <a:lumMod val="85000"/>
                <a:lumOff val="15000"/>
              </a:sys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>
                <a:defRPr/>
              </a:pPr>
              <a:endParaRPr lang="en-US" sz="1800" kern="0">
                <a:solidFill>
                  <a:prstClr val="black"/>
                </a:solidFill>
              </a:endParaRPr>
            </a:p>
          </p:txBody>
        </p:sp>
      </p:grpSp>
      <p:grpSp>
        <p:nvGrpSpPr>
          <p:cNvPr id="123" name="Group 122">
            <a:extLst>
              <a:ext uri="{FF2B5EF4-FFF2-40B4-BE49-F238E27FC236}">
                <a16:creationId xmlns:a16="http://schemas.microsoft.com/office/drawing/2014/main" id="{4EC382A8-BF86-6441-B1EC-60A948CD2E2A}"/>
              </a:ext>
            </a:extLst>
          </p:cNvPr>
          <p:cNvGrpSpPr/>
          <p:nvPr/>
        </p:nvGrpSpPr>
        <p:grpSpPr>
          <a:xfrm>
            <a:off x="1273992" y="1190993"/>
            <a:ext cx="754765" cy="1154587"/>
            <a:chOff x="5997254" y="2460748"/>
            <a:chExt cx="1616608" cy="2669888"/>
          </a:xfrm>
        </p:grpSpPr>
        <p:sp>
          <p:nvSpPr>
            <p:cNvPr id="124" name="Rectangle 123">
              <a:extLst>
                <a:ext uri="{FF2B5EF4-FFF2-40B4-BE49-F238E27FC236}">
                  <a16:creationId xmlns:a16="http://schemas.microsoft.com/office/drawing/2014/main" id="{DD879E62-4C9E-7644-8EC7-E53D600C2D42}"/>
                </a:ext>
              </a:extLst>
            </p:cNvPr>
            <p:cNvSpPr/>
            <p:nvPr/>
          </p:nvSpPr>
          <p:spPr>
            <a:xfrm>
              <a:off x="6718887" y="4188899"/>
              <a:ext cx="191914" cy="941737"/>
            </a:xfrm>
            <a:prstGeom prst="rect">
              <a:avLst/>
            </a:prstGeom>
            <a:gradFill>
              <a:gsLst>
                <a:gs pos="0">
                  <a:sysClr val="windowText" lastClr="000000">
                    <a:lumMod val="75000"/>
                    <a:lumOff val="25000"/>
                    <a:shade val="30000"/>
                    <a:satMod val="115000"/>
                  </a:sysClr>
                </a:gs>
                <a:gs pos="50000">
                  <a:sysClr val="window" lastClr="FFFFFF"/>
                </a:gs>
                <a:gs pos="100000">
                  <a:sysClr val="windowText" lastClr="000000">
                    <a:lumMod val="75000"/>
                    <a:lumOff val="25000"/>
                    <a:shade val="100000"/>
                    <a:satMod val="115000"/>
                  </a:sysClr>
                </a:gs>
              </a:gsLst>
              <a:lin ang="0" scaled="0"/>
            </a:gra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914400">
                <a:defRPr/>
              </a:pPr>
              <a:endParaRPr lang="en-US" sz="1800" kern="0">
                <a:solidFill>
                  <a:prstClr val="white"/>
                </a:solidFill>
              </a:endParaRPr>
            </a:p>
          </p:txBody>
        </p:sp>
        <p:sp>
          <p:nvSpPr>
            <p:cNvPr id="127" name="Freeform 26">
              <a:extLst>
                <a:ext uri="{FF2B5EF4-FFF2-40B4-BE49-F238E27FC236}">
                  <a16:creationId xmlns:a16="http://schemas.microsoft.com/office/drawing/2014/main" id="{20AF24BE-D336-2146-9C21-5CF46F3B620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97254" y="2460748"/>
              <a:ext cx="1616608" cy="1618702"/>
            </a:xfrm>
            <a:custGeom>
              <a:avLst/>
              <a:gdLst>
                <a:gd name="T0" fmla="*/ 323 w 326"/>
                <a:gd name="T1" fmla="*/ 157 h 326"/>
                <a:gd name="T2" fmla="*/ 169 w 326"/>
                <a:gd name="T3" fmla="*/ 2 h 326"/>
                <a:gd name="T4" fmla="*/ 163 w 326"/>
                <a:gd name="T5" fmla="*/ 0 h 326"/>
                <a:gd name="T6" fmla="*/ 157 w 326"/>
                <a:gd name="T7" fmla="*/ 2 h 326"/>
                <a:gd name="T8" fmla="*/ 3 w 326"/>
                <a:gd name="T9" fmla="*/ 157 h 326"/>
                <a:gd name="T10" fmla="*/ 0 w 326"/>
                <a:gd name="T11" fmla="*/ 163 h 326"/>
                <a:gd name="T12" fmla="*/ 3 w 326"/>
                <a:gd name="T13" fmla="*/ 169 h 326"/>
                <a:gd name="T14" fmla="*/ 157 w 326"/>
                <a:gd name="T15" fmla="*/ 323 h 326"/>
                <a:gd name="T16" fmla="*/ 163 w 326"/>
                <a:gd name="T17" fmla="*/ 326 h 326"/>
                <a:gd name="T18" fmla="*/ 169 w 326"/>
                <a:gd name="T19" fmla="*/ 323 h 326"/>
                <a:gd name="T20" fmla="*/ 323 w 326"/>
                <a:gd name="T21" fmla="*/ 169 h 326"/>
                <a:gd name="T22" fmla="*/ 326 w 326"/>
                <a:gd name="T23" fmla="*/ 163 h 326"/>
                <a:gd name="T24" fmla="*/ 323 w 326"/>
                <a:gd name="T25" fmla="*/ 157 h 326"/>
                <a:gd name="T26" fmla="*/ 306 w 326"/>
                <a:gd name="T27" fmla="*/ 168 h 326"/>
                <a:gd name="T28" fmla="*/ 168 w 326"/>
                <a:gd name="T29" fmla="*/ 306 h 326"/>
                <a:gd name="T30" fmla="*/ 163 w 326"/>
                <a:gd name="T31" fmla="*/ 308 h 326"/>
                <a:gd name="T32" fmla="*/ 157 w 326"/>
                <a:gd name="T33" fmla="*/ 306 h 326"/>
                <a:gd name="T34" fmla="*/ 20 w 326"/>
                <a:gd name="T35" fmla="*/ 168 h 326"/>
                <a:gd name="T36" fmla="*/ 17 w 326"/>
                <a:gd name="T37" fmla="*/ 163 h 326"/>
                <a:gd name="T38" fmla="*/ 20 w 326"/>
                <a:gd name="T39" fmla="*/ 157 h 326"/>
                <a:gd name="T40" fmla="*/ 157 w 326"/>
                <a:gd name="T41" fmla="*/ 19 h 326"/>
                <a:gd name="T42" fmla="*/ 163 w 326"/>
                <a:gd name="T43" fmla="*/ 17 h 326"/>
                <a:gd name="T44" fmla="*/ 168 w 326"/>
                <a:gd name="T45" fmla="*/ 19 h 326"/>
                <a:gd name="T46" fmla="*/ 306 w 326"/>
                <a:gd name="T47" fmla="*/ 157 h 326"/>
                <a:gd name="T48" fmla="*/ 309 w 326"/>
                <a:gd name="T49" fmla="*/ 163 h 326"/>
                <a:gd name="T50" fmla="*/ 306 w 326"/>
                <a:gd name="T51" fmla="*/ 168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26" h="326">
                  <a:moveTo>
                    <a:pt x="323" y="157"/>
                  </a:moveTo>
                  <a:cubicBezTo>
                    <a:pt x="169" y="2"/>
                    <a:pt x="169" y="2"/>
                    <a:pt x="169" y="2"/>
                  </a:cubicBezTo>
                  <a:cubicBezTo>
                    <a:pt x="167" y="0"/>
                    <a:pt x="164" y="0"/>
                    <a:pt x="163" y="0"/>
                  </a:cubicBezTo>
                  <a:cubicBezTo>
                    <a:pt x="162" y="0"/>
                    <a:pt x="159" y="0"/>
                    <a:pt x="157" y="2"/>
                  </a:cubicBezTo>
                  <a:cubicBezTo>
                    <a:pt x="3" y="157"/>
                    <a:pt x="3" y="157"/>
                    <a:pt x="3" y="157"/>
                  </a:cubicBezTo>
                  <a:cubicBezTo>
                    <a:pt x="1" y="158"/>
                    <a:pt x="0" y="160"/>
                    <a:pt x="0" y="163"/>
                  </a:cubicBezTo>
                  <a:cubicBezTo>
                    <a:pt x="0" y="165"/>
                    <a:pt x="1" y="167"/>
                    <a:pt x="3" y="169"/>
                  </a:cubicBezTo>
                  <a:cubicBezTo>
                    <a:pt x="157" y="323"/>
                    <a:pt x="157" y="323"/>
                    <a:pt x="157" y="323"/>
                  </a:cubicBezTo>
                  <a:cubicBezTo>
                    <a:pt x="159" y="325"/>
                    <a:pt x="162" y="326"/>
                    <a:pt x="163" y="326"/>
                  </a:cubicBezTo>
                  <a:cubicBezTo>
                    <a:pt x="164" y="326"/>
                    <a:pt x="167" y="325"/>
                    <a:pt x="169" y="323"/>
                  </a:cubicBezTo>
                  <a:cubicBezTo>
                    <a:pt x="323" y="169"/>
                    <a:pt x="323" y="169"/>
                    <a:pt x="323" y="169"/>
                  </a:cubicBezTo>
                  <a:cubicBezTo>
                    <a:pt x="325" y="167"/>
                    <a:pt x="326" y="164"/>
                    <a:pt x="326" y="163"/>
                  </a:cubicBezTo>
                  <a:cubicBezTo>
                    <a:pt x="326" y="161"/>
                    <a:pt x="325" y="159"/>
                    <a:pt x="323" y="157"/>
                  </a:cubicBezTo>
                  <a:close/>
                  <a:moveTo>
                    <a:pt x="306" y="168"/>
                  </a:moveTo>
                  <a:cubicBezTo>
                    <a:pt x="168" y="306"/>
                    <a:pt x="168" y="306"/>
                    <a:pt x="168" y="306"/>
                  </a:cubicBezTo>
                  <a:cubicBezTo>
                    <a:pt x="167" y="308"/>
                    <a:pt x="164" y="308"/>
                    <a:pt x="163" y="308"/>
                  </a:cubicBezTo>
                  <a:cubicBezTo>
                    <a:pt x="162" y="308"/>
                    <a:pt x="159" y="308"/>
                    <a:pt x="157" y="306"/>
                  </a:cubicBezTo>
                  <a:cubicBezTo>
                    <a:pt x="20" y="168"/>
                    <a:pt x="20" y="168"/>
                    <a:pt x="20" y="168"/>
                  </a:cubicBezTo>
                  <a:cubicBezTo>
                    <a:pt x="18" y="167"/>
                    <a:pt x="17" y="165"/>
                    <a:pt x="17" y="163"/>
                  </a:cubicBezTo>
                  <a:cubicBezTo>
                    <a:pt x="17" y="161"/>
                    <a:pt x="18" y="159"/>
                    <a:pt x="20" y="157"/>
                  </a:cubicBezTo>
                  <a:cubicBezTo>
                    <a:pt x="157" y="19"/>
                    <a:pt x="157" y="19"/>
                    <a:pt x="157" y="19"/>
                  </a:cubicBezTo>
                  <a:cubicBezTo>
                    <a:pt x="159" y="17"/>
                    <a:pt x="162" y="17"/>
                    <a:pt x="163" y="17"/>
                  </a:cubicBezTo>
                  <a:cubicBezTo>
                    <a:pt x="164" y="17"/>
                    <a:pt x="167" y="17"/>
                    <a:pt x="168" y="19"/>
                  </a:cubicBezTo>
                  <a:cubicBezTo>
                    <a:pt x="306" y="157"/>
                    <a:pt x="306" y="157"/>
                    <a:pt x="306" y="157"/>
                  </a:cubicBezTo>
                  <a:cubicBezTo>
                    <a:pt x="308" y="159"/>
                    <a:pt x="309" y="161"/>
                    <a:pt x="309" y="163"/>
                  </a:cubicBezTo>
                  <a:cubicBezTo>
                    <a:pt x="309" y="164"/>
                    <a:pt x="308" y="166"/>
                    <a:pt x="306" y="168"/>
                  </a:cubicBezTo>
                  <a:close/>
                </a:path>
              </a:pathLst>
            </a:custGeom>
            <a:solidFill>
              <a:sysClr val="windowText" lastClr="000000">
                <a:lumMod val="85000"/>
                <a:lumOff val="15000"/>
              </a:sys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>
                <a:defRPr/>
              </a:pPr>
              <a:endParaRPr lang="en-US" sz="1800" kern="0">
                <a:solidFill>
                  <a:prstClr val="black"/>
                </a:solidFill>
              </a:endParaRPr>
            </a:p>
          </p:txBody>
        </p:sp>
      </p:grpSp>
      <p:sp>
        <p:nvSpPr>
          <p:cNvPr id="131" name="Rectangle 130">
            <a:extLst>
              <a:ext uri="{FF2B5EF4-FFF2-40B4-BE49-F238E27FC236}">
                <a16:creationId xmlns:a16="http://schemas.microsoft.com/office/drawing/2014/main" id="{B21C2A6A-278F-1644-953D-D02763B61D6E}"/>
              </a:ext>
            </a:extLst>
          </p:cNvPr>
          <p:cNvSpPr/>
          <p:nvPr/>
        </p:nvSpPr>
        <p:spPr>
          <a:xfrm>
            <a:off x="1903876" y="1981203"/>
            <a:ext cx="827296" cy="466418"/>
          </a:xfrm>
          <a:prstGeom prst="rect">
            <a:avLst/>
          </a:prstGeom>
          <a:noFill/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r>
              <a:rPr lang="en-US" sz="1600">
                <a:solidFill>
                  <a:srgbClr val="000000"/>
                </a:solidFill>
                <a:latin typeface="Calibri"/>
                <a:cs typeface="Calibri"/>
              </a:rPr>
              <a:t>0-3mos</a:t>
            </a:r>
          </a:p>
        </p:txBody>
      </p:sp>
      <p:sp>
        <p:nvSpPr>
          <p:cNvPr id="132" name="Rectangle 131">
            <a:extLst>
              <a:ext uri="{FF2B5EF4-FFF2-40B4-BE49-F238E27FC236}">
                <a16:creationId xmlns:a16="http://schemas.microsoft.com/office/drawing/2014/main" id="{18001C7F-F435-644F-9AA9-666D5F27E895}"/>
              </a:ext>
            </a:extLst>
          </p:cNvPr>
          <p:cNvSpPr/>
          <p:nvPr/>
        </p:nvSpPr>
        <p:spPr>
          <a:xfrm>
            <a:off x="3645677" y="2530916"/>
            <a:ext cx="827296" cy="466418"/>
          </a:xfrm>
          <a:prstGeom prst="rect">
            <a:avLst/>
          </a:prstGeom>
          <a:noFill/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r>
              <a:rPr lang="en-US" sz="1600">
                <a:solidFill>
                  <a:srgbClr val="000000"/>
                </a:solidFill>
                <a:latin typeface="Calibri"/>
                <a:cs typeface="Calibri"/>
              </a:rPr>
              <a:t>6-9mos</a:t>
            </a:r>
          </a:p>
        </p:txBody>
      </p:sp>
      <p:sp>
        <p:nvSpPr>
          <p:cNvPr id="133" name="Rectangle 132">
            <a:extLst>
              <a:ext uri="{FF2B5EF4-FFF2-40B4-BE49-F238E27FC236}">
                <a16:creationId xmlns:a16="http://schemas.microsoft.com/office/drawing/2014/main" id="{373D2CA4-6B9A-F944-9EF7-88C628728277}"/>
              </a:ext>
            </a:extLst>
          </p:cNvPr>
          <p:cNvSpPr/>
          <p:nvPr/>
        </p:nvSpPr>
        <p:spPr>
          <a:xfrm>
            <a:off x="5008897" y="4697672"/>
            <a:ext cx="1088254" cy="445542"/>
          </a:xfrm>
          <a:prstGeom prst="rect">
            <a:avLst/>
          </a:prstGeom>
          <a:noFill/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r>
              <a:rPr lang="en-US" sz="1600">
                <a:solidFill>
                  <a:srgbClr val="000000"/>
                </a:solidFill>
                <a:latin typeface="Calibri"/>
                <a:cs typeface="Calibri"/>
              </a:rPr>
              <a:t>10-12mos</a:t>
            </a:r>
          </a:p>
        </p:txBody>
      </p:sp>
      <p:sp>
        <p:nvSpPr>
          <p:cNvPr id="134" name="Rectangle 133">
            <a:extLst>
              <a:ext uri="{FF2B5EF4-FFF2-40B4-BE49-F238E27FC236}">
                <a16:creationId xmlns:a16="http://schemas.microsoft.com/office/drawing/2014/main" id="{935727C3-A894-2B40-A82E-55E169941918}"/>
              </a:ext>
            </a:extLst>
          </p:cNvPr>
          <p:cNvSpPr/>
          <p:nvPr/>
        </p:nvSpPr>
        <p:spPr>
          <a:xfrm>
            <a:off x="8440802" y="5377153"/>
            <a:ext cx="1036063" cy="487294"/>
          </a:xfrm>
          <a:prstGeom prst="rect">
            <a:avLst/>
          </a:prstGeom>
          <a:noFill/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r>
              <a:rPr lang="en-US" sz="1600">
                <a:solidFill>
                  <a:srgbClr val="000000"/>
                </a:solidFill>
                <a:latin typeface="Calibri"/>
                <a:cs typeface="Calibri"/>
              </a:rPr>
              <a:t>12+mos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61B24D0-1E36-4A91-BEF5-005D4B9D2B77}"/>
              </a:ext>
            </a:extLst>
          </p:cNvPr>
          <p:cNvSpPr txBox="1"/>
          <p:nvPr/>
        </p:nvSpPr>
        <p:spPr>
          <a:xfrm>
            <a:off x="402920" y="2532345"/>
            <a:ext cx="3734844" cy="1231106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>
                <a:cs typeface="Calibri"/>
              </a:rPr>
              <a:t>Internal Alignment</a:t>
            </a:r>
          </a:p>
          <a:p>
            <a:pPr marL="285750" indent="-285750">
              <a:buFont typeface="Arial"/>
              <a:buChar char="•"/>
            </a:pPr>
            <a:r>
              <a:rPr lang="en-US" sz="1400">
                <a:cs typeface="Calibri"/>
              </a:rPr>
              <a:t>Identify and validate the issue</a:t>
            </a:r>
          </a:p>
          <a:p>
            <a:pPr marL="285750" indent="-285750">
              <a:buFont typeface="Arial"/>
              <a:buChar char="•"/>
            </a:pPr>
            <a:r>
              <a:rPr lang="en-US" sz="1400">
                <a:cs typeface="Calibri"/>
              </a:rPr>
              <a:t>Define metrics to quantify impact</a:t>
            </a:r>
          </a:p>
          <a:p>
            <a:pPr marL="285750" indent="-285750">
              <a:buFont typeface="Arial"/>
              <a:buChar char="•"/>
            </a:pPr>
            <a:r>
              <a:rPr lang="en-US" sz="1400">
                <a:cs typeface="Calibri"/>
              </a:rPr>
              <a:t>Develop team of data engineers and data scientists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1DFED1D0-E430-4406-9246-5CA239650A75}"/>
              </a:ext>
            </a:extLst>
          </p:cNvPr>
          <p:cNvSpPr txBox="1"/>
          <p:nvPr/>
        </p:nvSpPr>
        <p:spPr>
          <a:xfrm>
            <a:off x="5175740" y="1086667"/>
            <a:ext cx="3734844" cy="144655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>
                <a:cs typeface="Calibri"/>
              </a:rPr>
              <a:t>Build the infrastructure</a:t>
            </a:r>
          </a:p>
          <a:p>
            <a:pPr marL="285750" indent="-285750">
              <a:buFont typeface="Arial"/>
              <a:buChar char="•"/>
            </a:pPr>
            <a:r>
              <a:rPr lang="en-US" sz="1400">
                <a:cs typeface="Calibri"/>
              </a:rPr>
              <a:t>Utilize AWS/GCP for cheap data storage</a:t>
            </a:r>
          </a:p>
          <a:p>
            <a:pPr marL="285750" indent="-285750">
              <a:buFont typeface="Arial"/>
              <a:buChar char="•"/>
            </a:pPr>
            <a:r>
              <a:rPr lang="en-US" sz="1400">
                <a:cs typeface="Calibri"/>
              </a:rPr>
              <a:t>Develop data streams from Craigslist website to cloud , analysis and generating reports</a:t>
            </a:r>
          </a:p>
          <a:p>
            <a:pPr marL="285750" indent="-285750">
              <a:buFont typeface="Arial"/>
              <a:buChar char="•"/>
            </a:pPr>
            <a:r>
              <a:rPr lang="en-US" sz="1400">
                <a:cs typeface="Calibri"/>
              </a:rPr>
              <a:t>Develop scheduled web scraping from Twitter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322689EE-5DAA-4067-82F5-510C69D95EA0}"/>
              </a:ext>
            </a:extLst>
          </p:cNvPr>
          <p:cNvSpPr txBox="1"/>
          <p:nvPr/>
        </p:nvSpPr>
        <p:spPr>
          <a:xfrm>
            <a:off x="441810" y="4691150"/>
            <a:ext cx="3802098" cy="1231106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>
                <a:cs typeface="Calibri"/>
              </a:rPr>
              <a:t>Evaluate and Refine</a:t>
            </a:r>
          </a:p>
          <a:p>
            <a:pPr marL="285750" indent="-285750">
              <a:buFont typeface="Arial"/>
              <a:buChar char="•"/>
            </a:pPr>
            <a:r>
              <a:rPr lang="en-US" sz="1400">
                <a:cs typeface="Calibri"/>
              </a:rPr>
              <a:t>First wave of the end-to-end analysis is done</a:t>
            </a:r>
          </a:p>
          <a:p>
            <a:pPr marL="285750" indent="-285750">
              <a:buFont typeface="Arial"/>
              <a:buChar char="•"/>
            </a:pPr>
            <a:r>
              <a:rPr lang="en-US" sz="1400">
                <a:cs typeface="Calibri"/>
              </a:rPr>
              <a:t>Potential areas of improvement identified</a:t>
            </a:r>
          </a:p>
          <a:p>
            <a:pPr marL="285750" indent="-285750">
              <a:buFont typeface="Arial"/>
              <a:buChar char="•"/>
            </a:pPr>
            <a:r>
              <a:rPr lang="en-US" sz="1400">
                <a:cs typeface="Calibri"/>
              </a:rPr>
              <a:t>Evaluation metric calculated and ready to be tracked across upcoming months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2D4D09B0-6C17-4C64-A824-38E6D9266B36}"/>
              </a:ext>
            </a:extLst>
          </p:cNvPr>
          <p:cNvSpPr txBox="1"/>
          <p:nvPr/>
        </p:nvSpPr>
        <p:spPr>
          <a:xfrm>
            <a:off x="8575041" y="4055019"/>
            <a:ext cx="3532341" cy="144655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>
                <a:cs typeface="Calibri"/>
              </a:rPr>
              <a:t>Roll-out and Replicate</a:t>
            </a:r>
          </a:p>
          <a:p>
            <a:pPr marL="285750" indent="-285750">
              <a:buFont typeface="Arial"/>
              <a:buChar char="•"/>
            </a:pPr>
            <a:r>
              <a:rPr lang="en-US" sz="1400">
                <a:cs typeface="Calibri"/>
              </a:rPr>
              <a:t>Roll-out the website changes to the customers (potentially with a new website design launch)</a:t>
            </a:r>
          </a:p>
          <a:p>
            <a:pPr marL="285750" indent="-285750">
              <a:buFont typeface="Arial"/>
              <a:buChar char="•"/>
            </a:pPr>
            <a:r>
              <a:rPr lang="en-US" sz="1400">
                <a:cs typeface="Calibri"/>
              </a:rPr>
              <a:t>Develop plan to replicate the changes across other Craigslist's categories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2B7D965B-46B1-4F8F-A475-1827E93E9FD9}"/>
              </a:ext>
            </a:extLst>
          </p:cNvPr>
          <p:cNvSpPr txBox="1"/>
          <p:nvPr/>
        </p:nvSpPr>
        <p:spPr>
          <a:xfrm>
            <a:off x="1507119" y="1353010"/>
            <a:ext cx="29296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/>
              <a:t>1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529059FA-6222-4940-884A-07094558FCA8}"/>
              </a:ext>
            </a:extLst>
          </p:cNvPr>
          <p:cNvSpPr txBox="1"/>
          <p:nvPr/>
        </p:nvSpPr>
        <p:spPr>
          <a:xfrm>
            <a:off x="4353844" y="1543162"/>
            <a:ext cx="29296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/>
              <a:t>2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1D6A1C82-2FF6-4F03-8C0D-60BC2966A109}"/>
              </a:ext>
            </a:extLst>
          </p:cNvPr>
          <p:cNvSpPr txBox="1"/>
          <p:nvPr/>
        </p:nvSpPr>
        <p:spPr>
          <a:xfrm>
            <a:off x="4172259" y="3697281"/>
            <a:ext cx="29296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/>
              <a:t>3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E7AB213F-A9FB-4890-901A-26873DA5CE41}"/>
              </a:ext>
            </a:extLst>
          </p:cNvPr>
          <p:cNvSpPr txBox="1"/>
          <p:nvPr/>
        </p:nvSpPr>
        <p:spPr>
          <a:xfrm>
            <a:off x="7770103" y="4551452"/>
            <a:ext cx="33920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/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170663015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5" grpId="0" animBg="1"/>
      <p:bldP spid="96" grpId="0" animBg="1"/>
      <p:bldP spid="97" grpId="0" animBg="1"/>
      <p:bldP spid="98" grpId="0" animBg="1"/>
      <p:bldP spid="131" grpId="0"/>
      <p:bldP spid="132" grpId="0"/>
      <p:bldP spid="133" grpId="0"/>
      <p:bldP spid="134" grpId="0"/>
      <p:bldP spid="2" grpId="0"/>
      <p:bldP spid="47" grpId="0"/>
      <p:bldP spid="48" grpId="0"/>
      <p:bldP spid="49" grpId="0"/>
      <p:bldP spid="3" grpId="0"/>
      <p:bldP spid="38" grpId="0"/>
      <p:bldP spid="39" grpId="0"/>
      <p:bldP spid="40" grpId="0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>
            <a:extLst>
              <a:ext uri="{FF2B5EF4-FFF2-40B4-BE49-F238E27FC236}">
                <a16:creationId xmlns:a16="http://schemas.microsoft.com/office/drawing/2014/main" id="{AAFC420C-3A5D-4789-A697-DC3BBD29CEE3}"/>
              </a:ext>
            </a:extLst>
          </p:cNvPr>
          <p:cNvSpPr/>
          <p:nvPr/>
        </p:nvSpPr>
        <p:spPr>
          <a:xfrm>
            <a:off x="0" y="264294"/>
            <a:ext cx="1757680" cy="741204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C98781B0-9064-46C2-8497-AAAE84DCA1CC}"/>
              </a:ext>
            </a:extLst>
          </p:cNvPr>
          <p:cNvSpPr/>
          <p:nvPr/>
        </p:nvSpPr>
        <p:spPr>
          <a:xfrm>
            <a:off x="8575041" y="293170"/>
            <a:ext cx="3616959" cy="741204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2B495259-37AB-4B6D-BD31-B118894F75D0}"/>
              </a:ext>
            </a:extLst>
          </p:cNvPr>
          <p:cNvSpPr/>
          <p:nvPr/>
        </p:nvSpPr>
        <p:spPr>
          <a:xfrm>
            <a:off x="1757681" y="293170"/>
            <a:ext cx="6817360" cy="74120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>
                <a:solidFill>
                  <a:schemeClr val="tx1"/>
                </a:solidFill>
              </a:rPr>
              <a:t>Final Recommendation Slides</a:t>
            </a:r>
          </a:p>
        </p:txBody>
      </p:sp>
      <p:sp>
        <p:nvSpPr>
          <p:cNvPr id="6" name="Trapezoid 5">
            <a:extLst>
              <a:ext uri="{FF2B5EF4-FFF2-40B4-BE49-F238E27FC236}">
                <a16:creationId xmlns:a16="http://schemas.microsoft.com/office/drawing/2014/main" id="{C0B63907-EEC6-8A4E-BBD2-C4B25A2E816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 rot="5400000">
            <a:off x="6724825" y="1853179"/>
            <a:ext cx="2394752" cy="1865441"/>
          </a:xfrm>
          <a:prstGeom prst="trapezoid">
            <a:avLst>
              <a:gd name="adj" fmla="val 53777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en-US" sz="1500" b="1" dirty="0">
                <a:solidFill>
                  <a:sysClr val="windowText" lastClr="000000"/>
                </a:solidFill>
              </a:rPr>
              <a:t>DevOps effort</a:t>
            </a:r>
          </a:p>
          <a:p>
            <a:pPr algn="ctr"/>
            <a:r>
              <a:rPr lang="en-US" sz="1500" b="1" dirty="0">
                <a:solidFill>
                  <a:sysClr val="windowText" lastClr="000000"/>
                </a:solidFill>
              </a:rPr>
              <a:t>+</a:t>
            </a:r>
          </a:p>
          <a:p>
            <a:pPr algn="ctr"/>
            <a:r>
              <a:rPr lang="en-US" sz="1500" b="1" dirty="0">
                <a:solidFill>
                  <a:sysClr val="windowText" lastClr="000000"/>
                </a:solidFill>
              </a:rPr>
              <a:t>Data collection policy update</a:t>
            </a:r>
            <a:endParaRPr lang="en-US" sz="2000" b="1" dirty="0">
              <a:solidFill>
                <a:sysClr val="windowText" lastClr="000000"/>
              </a:solidFill>
            </a:endParaRP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D52B70C-83A8-B140-8813-56470375E85A}"/>
              </a:ext>
            </a:extLst>
          </p:cNvPr>
          <p:cNvSpPr txBox="1">
            <a:spLocks/>
          </p:cNvSpPr>
          <p:nvPr/>
        </p:nvSpPr>
        <p:spPr>
          <a:xfrm>
            <a:off x="8668226" y="2246568"/>
            <a:ext cx="2435928" cy="1100379"/>
          </a:xfrm>
          <a:prstGeom prst="rect">
            <a:avLst/>
          </a:prstGeom>
          <a:solidFill>
            <a:schemeClr val="accent2"/>
          </a:solidFill>
          <a:ln w="19050">
            <a:solidFill>
              <a:schemeClr val="accent2"/>
            </a:solidFill>
          </a:ln>
        </p:spPr>
        <p:txBody>
          <a:bodyPr vert="horz" lIns="91440" tIns="36576" rIns="91440" bIns="36576" rtlCol="0" anchor="ctr">
            <a:noAutofit/>
          </a:bodyPr>
          <a:lstStyle>
            <a:lvl1pPr marL="274320" marR="0" indent="-27432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charset="2"/>
              <a:buChar char="§"/>
              <a:tabLst/>
              <a:defRPr sz="1800" b="0" i="0" kern="1200" normalizeH="0" baseline="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creased traffic and time spent on site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7ADB159D-E7AF-3C44-94CE-5311D8EEE72F}"/>
              </a:ext>
            </a:extLst>
          </p:cNvPr>
          <p:cNvSpPr txBox="1">
            <a:spLocks/>
          </p:cNvSpPr>
          <p:nvPr/>
        </p:nvSpPr>
        <p:spPr>
          <a:xfrm>
            <a:off x="1859134" y="1583146"/>
            <a:ext cx="4888370" cy="731520"/>
          </a:xfrm>
          <a:prstGeom prst="rect">
            <a:avLst/>
          </a:prstGeom>
          <a:solidFill>
            <a:schemeClr val="tx2"/>
          </a:solidFill>
          <a:ln w="19050">
            <a:noFill/>
          </a:ln>
        </p:spPr>
        <p:txBody>
          <a:bodyPr vert="horz" lIns="91440" tIns="36576" rIns="91440" bIns="36576" rtlCol="0" anchor="ctr">
            <a:noAutofit/>
          </a:bodyPr>
          <a:lstStyle>
            <a:lvl1pPr marL="274320" marR="0" indent="-27432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charset="2"/>
              <a:buChar char="§"/>
              <a:tabLst/>
              <a:defRPr sz="1800" b="0" i="0" kern="1200" normalizeH="0" baseline="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600">
                <a:solidFill>
                  <a:schemeClr val="bg1"/>
                </a:solidFill>
                <a:latin typeface="+mj-lt"/>
              </a:rPr>
              <a:t>	‘Waste my time’ button to show random ‘Best post’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CEC14F36-D70D-004D-AFAB-0F0E5695DD3C}"/>
              </a:ext>
            </a:extLst>
          </p:cNvPr>
          <p:cNvSpPr txBox="1">
            <a:spLocks/>
          </p:cNvSpPr>
          <p:nvPr/>
        </p:nvSpPr>
        <p:spPr>
          <a:xfrm>
            <a:off x="1859134" y="2465049"/>
            <a:ext cx="4888370" cy="731520"/>
          </a:xfrm>
          <a:prstGeom prst="rect">
            <a:avLst/>
          </a:prstGeom>
          <a:solidFill>
            <a:srgbClr val="A6A6A6"/>
          </a:solidFill>
          <a:ln w="19050">
            <a:noFill/>
          </a:ln>
        </p:spPr>
        <p:txBody>
          <a:bodyPr vert="horz" lIns="91440" tIns="36576" rIns="91440" bIns="36576" rtlCol="0" anchor="ctr">
            <a:noAutofit/>
          </a:bodyPr>
          <a:lstStyle>
            <a:lvl1pPr marL="274320" marR="0" indent="-27432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charset="2"/>
              <a:buChar char="§"/>
              <a:tabLst/>
              <a:defRPr sz="1800" b="0" i="0" kern="1200" normalizeH="0" baseline="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600">
                <a:latin typeface="+mj-lt"/>
              </a:rPr>
              <a:t>	</a:t>
            </a:r>
            <a:r>
              <a:rPr lang="en-US" sz="1600">
                <a:solidFill>
                  <a:schemeClr val="bg1"/>
                </a:solidFill>
                <a:latin typeface="+mj-lt"/>
              </a:rPr>
              <a:t>NSFW filter switch on website and search results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150BE547-9D80-B742-B8B4-8628CB5C2D48}"/>
              </a:ext>
            </a:extLst>
          </p:cNvPr>
          <p:cNvSpPr txBox="1">
            <a:spLocks/>
          </p:cNvSpPr>
          <p:nvPr/>
        </p:nvSpPr>
        <p:spPr>
          <a:xfrm>
            <a:off x="1868370" y="3346947"/>
            <a:ext cx="4888370" cy="731520"/>
          </a:xfrm>
          <a:prstGeom prst="rect">
            <a:avLst/>
          </a:prstGeom>
          <a:solidFill>
            <a:schemeClr val="tx2"/>
          </a:solidFill>
          <a:ln w="19050">
            <a:noFill/>
          </a:ln>
        </p:spPr>
        <p:txBody>
          <a:bodyPr vert="horz" lIns="91440" tIns="36576" rIns="91440" bIns="36576" rtlCol="0" anchor="ctr">
            <a:noAutofit/>
          </a:bodyPr>
          <a:lstStyle>
            <a:lvl1pPr marL="274320" marR="0" indent="-27432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charset="2"/>
              <a:buChar char="§"/>
              <a:tabLst/>
              <a:defRPr sz="1800" b="0" i="0" kern="1200" normalizeH="0" baseline="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600">
                <a:solidFill>
                  <a:schemeClr val="bg1"/>
                </a:solidFill>
                <a:latin typeface="+mj-lt"/>
              </a:rPr>
              <a:t>	Data collection for personalized post         	 	recommendation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471F8E8-EA98-3343-B864-6764D01F9302}"/>
              </a:ext>
            </a:extLst>
          </p:cNvPr>
          <p:cNvSpPr/>
          <p:nvPr/>
        </p:nvSpPr>
        <p:spPr>
          <a:xfrm>
            <a:off x="1757680" y="1390982"/>
            <a:ext cx="5120640" cy="2834640"/>
          </a:xfrm>
          <a:prstGeom prst="rect">
            <a:avLst/>
          </a:prstGeom>
          <a:noFill/>
          <a:ln w="38100" cap="flat">
            <a:solidFill>
              <a:schemeClr val="tx1">
                <a:lumMod val="50000"/>
                <a:lumOff val="50000"/>
              </a:schemeClr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US" sz="1400" err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Trapezoid 11">
            <a:extLst>
              <a:ext uri="{FF2B5EF4-FFF2-40B4-BE49-F238E27FC236}">
                <a16:creationId xmlns:a16="http://schemas.microsoft.com/office/drawing/2014/main" id="{9EEFC3CA-D877-6C46-982E-30A39B5E8E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 rot="5400000">
            <a:off x="6316013" y="1962081"/>
            <a:ext cx="2834640" cy="1692442"/>
          </a:xfrm>
          <a:prstGeom prst="trapezoid">
            <a:avLst>
              <a:gd name="adj" fmla="val 52173"/>
            </a:avLst>
          </a:prstGeom>
          <a:noFill/>
          <a:ln w="381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endParaRPr lang="en-US" sz="1463" b="1">
              <a:solidFill>
                <a:schemeClr val="accent1"/>
              </a:solidFill>
            </a:endParaRPr>
          </a:p>
        </p:txBody>
      </p:sp>
      <p:pic>
        <p:nvPicPr>
          <p:cNvPr id="13" name="Graphic 12" descr="Hierarchy">
            <a:extLst>
              <a:ext uri="{FF2B5EF4-FFF2-40B4-BE49-F238E27FC236}">
                <a16:creationId xmlns:a16="http://schemas.microsoft.com/office/drawing/2014/main" id="{35C19C04-2B94-FC42-B7E4-E5F948EDC15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877162" y="1714292"/>
            <a:ext cx="526149" cy="469232"/>
          </a:xfrm>
          <a:prstGeom prst="rect">
            <a:avLst/>
          </a:prstGeom>
        </p:spPr>
      </p:pic>
      <p:pic>
        <p:nvPicPr>
          <p:cNvPr id="14" name="Graphic 13" descr="Boardroom">
            <a:extLst>
              <a:ext uri="{FF2B5EF4-FFF2-40B4-BE49-F238E27FC236}">
                <a16:creationId xmlns:a16="http://schemas.microsoft.com/office/drawing/2014/main" id="{98A81AEF-F83F-C44A-898E-C8C82EAADA8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877162" y="2579889"/>
            <a:ext cx="526149" cy="469232"/>
          </a:xfrm>
          <a:prstGeom prst="rect">
            <a:avLst/>
          </a:prstGeom>
        </p:spPr>
      </p:pic>
      <p:pic>
        <p:nvPicPr>
          <p:cNvPr id="15" name="Graphic 14" descr="Cloud Computing">
            <a:extLst>
              <a:ext uri="{FF2B5EF4-FFF2-40B4-BE49-F238E27FC236}">
                <a16:creationId xmlns:a16="http://schemas.microsoft.com/office/drawing/2014/main" id="{660EB91D-7F44-734F-8EEB-3A8BA85D363D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877162" y="3474287"/>
            <a:ext cx="526149" cy="469232"/>
          </a:xfrm>
          <a:prstGeom prst="rect">
            <a:avLst/>
          </a:prstGeom>
        </p:spPr>
      </p:pic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D446513B-DD4A-6F45-B1B1-D3E4A4E374A8}"/>
              </a:ext>
            </a:extLst>
          </p:cNvPr>
          <p:cNvSpPr txBox="1">
            <a:spLocks/>
          </p:cNvSpPr>
          <p:nvPr/>
        </p:nvSpPr>
        <p:spPr>
          <a:xfrm>
            <a:off x="1757681" y="4781990"/>
            <a:ext cx="5120640" cy="1059146"/>
          </a:xfrm>
          <a:prstGeom prst="rect">
            <a:avLst/>
          </a:prstGeom>
          <a:solidFill>
            <a:schemeClr val="tx2"/>
          </a:solidFill>
          <a:ln w="19050">
            <a:solidFill>
              <a:schemeClr val="tx2"/>
            </a:solidFill>
          </a:ln>
        </p:spPr>
        <p:txBody>
          <a:bodyPr vert="horz" lIns="91440" tIns="36576" rIns="91440" bIns="36576" rtlCol="0" anchor="ctr">
            <a:noAutofit/>
          </a:bodyPr>
          <a:lstStyle>
            <a:lvl1pPr marL="274320" marR="0" indent="-27432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charset="2"/>
              <a:buChar char="§"/>
              <a:tabLst/>
              <a:defRPr sz="1800" b="0" i="0" kern="1200" normalizeH="0" baseline="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600" dirty="0">
                <a:solidFill>
                  <a:schemeClr val="bg1"/>
                </a:solidFill>
                <a:latin typeface="+mj-lt"/>
              </a:rPr>
              <a:t>	Invest in R&amp;D, develop solutions to move from 	“information” to “recommendation” architecture</a:t>
            </a:r>
          </a:p>
        </p:txBody>
      </p:sp>
      <p:sp>
        <p:nvSpPr>
          <p:cNvPr id="17" name="Trapezoid 16">
            <a:extLst>
              <a:ext uri="{FF2B5EF4-FFF2-40B4-BE49-F238E27FC236}">
                <a16:creationId xmlns:a16="http://schemas.microsoft.com/office/drawing/2014/main" id="{BE2D84F9-D763-2B47-9523-A49BB1637A5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 rot="5400000" flipV="1">
            <a:off x="7017829" y="4323725"/>
            <a:ext cx="1393701" cy="1975674"/>
          </a:xfrm>
          <a:prstGeom prst="trapezoid">
            <a:avLst>
              <a:gd name="adj" fmla="val 1656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rtlCol="0" anchor="ctr"/>
          <a:lstStyle/>
          <a:p>
            <a:r>
              <a:rPr lang="en-US" sz="1500" b="1" dirty="0">
                <a:solidFill>
                  <a:sysClr val="windowText" lastClr="000000"/>
                </a:solidFill>
              </a:rPr>
              <a:t>Long-term Solution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CAF90587-9280-C34C-8308-CFDBEFC4A437}"/>
              </a:ext>
            </a:extLst>
          </p:cNvPr>
          <p:cNvSpPr/>
          <p:nvPr/>
        </p:nvSpPr>
        <p:spPr>
          <a:xfrm>
            <a:off x="1757680" y="4781990"/>
            <a:ext cx="5120640" cy="1059147"/>
          </a:xfrm>
          <a:prstGeom prst="rect">
            <a:avLst/>
          </a:prstGeom>
          <a:noFill/>
          <a:ln w="38100" cap="flat">
            <a:solidFill>
              <a:schemeClr val="tx1">
                <a:lumMod val="50000"/>
                <a:lumOff val="50000"/>
              </a:schemeClr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US" sz="1400" err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9" name="Trapezoid 18">
            <a:extLst>
              <a:ext uri="{FF2B5EF4-FFF2-40B4-BE49-F238E27FC236}">
                <a16:creationId xmlns:a16="http://schemas.microsoft.com/office/drawing/2014/main" id="{1AF82A0C-01F2-B148-B6F6-4D908EA59C2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 rot="5400000" flipV="1">
            <a:off x="6925221" y="4456691"/>
            <a:ext cx="1616225" cy="1692442"/>
          </a:xfrm>
          <a:prstGeom prst="trapezoid">
            <a:avLst>
              <a:gd name="adj" fmla="val 17447"/>
            </a:avLst>
          </a:prstGeom>
          <a:noFill/>
          <a:ln w="381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endParaRPr lang="en-US" sz="1463" b="1">
              <a:solidFill>
                <a:schemeClr val="accent1"/>
              </a:solidFill>
            </a:endParaRPr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E5A3A7B1-7AB7-314D-BCDA-B60F51D16F97}"/>
              </a:ext>
            </a:extLst>
          </p:cNvPr>
          <p:cNvSpPr txBox="1">
            <a:spLocks/>
          </p:cNvSpPr>
          <p:nvPr/>
        </p:nvSpPr>
        <p:spPr>
          <a:xfrm>
            <a:off x="8668226" y="4494799"/>
            <a:ext cx="2435928" cy="1616226"/>
          </a:xfrm>
          <a:prstGeom prst="rect">
            <a:avLst/>
          </a:prstGeom>
          <a:solidFill>
            <a:schemeClr val="accent2"/>
          </a:solidFill>
          <a:ln w="19050">
            <a:solidFill>
              <a:schemeClr val="accent2"/>
            </a:solidFill>
          </a:ln>
        </p:spPr>
        <p:txBody>
          <a:bodyPr vert="horz" lIns="91440" tIns="36576" rIns="91440" bIns="36576" rtlCol="0" anchor="ctr">
            <a:noAutofit/>
          </a:bodyPr>
          <a:lstStyle>
            <a:lvl1pPr marL="274320" marR="0" indent="-27432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charset="2"/>
              <a:buChar char="§"/>
              <a:tabLst/>
              <a:defRPr sz="1800" b="0" i="0" kern="1200" normalizeH="0" baseline="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>
                <a:solidFill>
                  <a:schemeClr val="bg1"/>
                </a:solidFill>
                <a:latin typeface="Calibri" panose="020F0502020204030204"/>
              </a:rPr>
              <a:t>Improved user satisfaction and serve more people</a:t>
            </a:r>
          </a:p>
        </p:txBody>
      </p:sp>
      <p:pic>
        <p:nvPicPr>
          <p:cNvPr id="21" name="Graphic 20" descr="Head with gears">
            <a:extLst>
              <a:ext uri="{FF2B5EF4-FFF2-40B4-BE49-F238E27FC236}">
                <a16:creationId xmlns:a16="http://schemas.microsoft.com/office/drawing/2014/main" id="{1E59D194-2A38-4540-A970-CDBDD7908BAF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757679" y="5027676"/>
            <a:ext cx="567771" cy="5677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804335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 animBg="1"/>
      <p:bldP spid="8" grpId="0" animBg="1"/>
      <p:bldP spid="9" grpId="0" animBg="1"/>
      <p:bldP spid="10" grpId="0" animBg="1"/>
      <p:bldP spid="11" grpId="0" animBg="1"/>
      <p:bldP spid="12" grpId="0" animBg="1"/>
      <p:bldP spid="16" grpId="0" animBg="1"/>
      <p:bldP spid="17" grpId="0" animBg="1"/>
      <p:bldP spid="18" grpId="0" animBg="1"/>
      <p:bldP spid="19" grpId="0" animBg="1"/>
      <p:bldP spid="20" grpId="0" animBg="1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23FFBDCA-5589-BA46-A36C-3DE7E101C70B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1704566" y="2394513"/>
            <a:ext cx="9344435" cy="369887"/>
          </a:xfrm>
        </p:spPr>
        <p:txBody>
          <a:bodyPr/>
          <a:lstStyle/>
          <a:p>
            <a:r>
              <a:rPr lang="en-US"/>
              <a:t>APPENDIX</a:t>
            </a:r>
          </a:p>
        </p:txBody>
      </p:sp>
      <p:pic>
        <p:nvPicPr>
          <p:cNvPr id="37890" name="Picture 2" descr="56265093-91ad-4929-bf94-fed91fcdcdf5">
            <a:extLst>
              <a:ext uri="{FF2B5EF4-FFF2-40B4-BE49-F238E27FC236}">
                <a16:creationId xmlns:a16="http://schemas.microsoft.com/office/drawing/2014/main" id="{7845E728-B64A-4A9B-8468-42787038101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52400" y="-182880"/>
            <a:ext cx="12607636" cy="71378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8779018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D301822-431F-B24F-86CA-092EEE276F9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4310109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6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D301822-431F-B24F-86CA-092EEE276F9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9503CF8-E58B-4A47-A3D0-DD467A859B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Appendix</a:t>
            </a:r>
          </a:p>
        </p:txBody>
      </p:sp>
    </p:spTree>
    <p:extLst>
      <p:ext uri="{BB962C8B-B14F-4D97-AF65-F5344CB8AC3E}">
        <p14:creationId xmlns:p14="http://schemas.microsoft.com/office/powerpoint/2010/main" val="2721044613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2" name="Chart 51">
            <a:extLst>
              <a:ext uri="{FF2B5EF4-FFF2-40B4-BE49-F238E27FC236}">
                <a16:creationId xmlns:a16="http://schemas.microsoft.com/office/drawing/2014/main" id="{721AE959-C008-4343-8701-B55540A162D4}"/>
              </a:ext>
            </a:extLst>
          </p:cNvPr>
          <p:cNvGraphicFramePr>
            <a:graphicFrameLocks/>
          </p:cNvGraphicFramePr>
          <p:nvPr/>
        </p:nvGraphicFramePr>
        <p:xfrm>
          <a:off x="930399" y="1964040"/>
          <a:ext cx="9586538" cy="332303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0"/>
          </a:graphicData>
        </a:graphic>
      </p:graphicFrame>
      <p:graphicFrame>
        <p:nvGraphicFramePr>
          <p:cNvPr id="40" name="Object 39" hidden="1">
            <a:extLst>
              <a:ext uri="{FF2B5EF4-FFF2-40B4-BE49-F238E27FC236}">
                <a16:creationId xmlns:a16="http://schemas.microsoft.com/office/drawing/2014/main" id="{B7E2212F-20D1-4C97-A277-10A04A6D560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099098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0" name="think-cell Slide" r:id="rId21" imgW="425" imgH="424" progId="TCLayout.ActiveDocument.1">
                  <p:embed/>
                </p:oleObj>
              </mc:Choice>
              <mc:Fallback>
                <p:oleObj name="think-cell Slide" r:id="rId21" imgW="425" imgH="424" progId="TCLayout.ActiveDocument.1">
                  <p:embed/>
                  <p:pic>
                    <p:nvPicPr>
                      <p:cNvPr id="40" name="Object 39" hidden="1">
                        <a:extLst>
                          <a:ext uri="{FF2B5EF4-FFF2-40B4-BE49-F238E27FC236}">
                            <a16:creationId xmlns:a16="http://schemas.microsoft.com/office/drawing/2014/main" id="{B7E2212F-20D1-4C97-A277-10A04A6D56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9" name="Rectangle 38" hidden="1">
            <a:extLst>
              <a:ext uri="{FF2B5EF4-FFF2-40B4-BE49-F238E27FC236}">
                <a16:creationId xmlns:a16="http://schemas.microsoft.com/office/drawing/2014/main" id="{E42EBEED-CFFD-4349-B450-7F60A2448EE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1600" dirty="0">
              <a:sym typeface="+mn-lt"/>
            </a:endParaRPr>
          </a:p>
        </p:txBody>
      </p:sp>
      <p:sp>
        <p:nvSpPr>
          <p:cNvPr id="7" name="Title 6" hidden="1">
            <a:extLst>
              <a:ext uri="{FF2B5EF4-FFF2-40B4-BE49-F238E27FC236}">
                <a16:creationId xmlns:a16="http://schemas.microsoft.com/office/drawing/2014/main" id="{7C70995F-D8C5-410A-AA8B-1EE172A294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Project analysis slide 10</a:t>
            </a:r>
          </a:p>
        </p:txBody>
      </p:sp>
      <p:sp>
        <p:nvSpPr>
          <p:cNvPr id="172" name="Freeform: Shape 171">
            <a:extLst>
              <a:ext uri="{FF2B5EF4-FFF2-40B4-BE49-F238E27FC236}">
                <a16:creationId xmlns:a16="http://schemas.microsoft.com/office/drawing/2014/main" id="{AD8C168F-3E40-4061-9117-66D588F99FF2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>
            <a:off x="930399" y="4747921"/>
            <a:ext cx="146051" cy="39688"/>
          </a:xfrm>
          <a:custGeom>
            <a:avLst/>
            <a:gdLst/>
            <a:ahLst/>
            <a:cxnLst/>
            <a:rect l="0" t="0" r="0" b="0"/>
            <a:pathLst>
              <a:path w="146051" h="39688">
                <a:moveTo>
                  <a:pt x="0" y="39687"/>
                </a:moveTo>
                <a:lnTo>
                  <a:pt x="146050" y="0"/>
                </a:lnTo>
              </a:path>
            </a:pathLst>
          </a:custGeom>
          <a:ln w="9525" cap="flat" cmpd="sng" algn="ctr">
            <a:solidFill>
              <a:srgbClr val="FDF2F0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1" name="Text Placeholder 2">
            <a:extLst>
              <a:ext uri="{FF2B5EF4-FFF2-40B4-BE49-F238E27FC236}">
                <a16:creationId xmlns:a16="http://schemas.microsoft.com/office/drawing/2014/main" id="{5C455121-6DB5-4C3C-95DB-0EAAED4FC434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6928162" y="5321009"/>
            <a:ext cx="1301750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C6FB44D-E288-4EA8-958A-236859060B3D}" type="datetime'''''''''Gra''d''''''''ie''nt'''''' ''''Boo''''s''''''''t'''">
              <a:rPr lang="en-US" altLang="en-US" sz="16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Gradient Boost</a:t>
            </a:fld>
            <a:endParaRPr lang="en-US" sz="1600">
              <a:sym typeface="+mn-lt"/>
            </a:endParaRPr>
          </a:p>
        </p:txBody>
      </p:sp>
      <p:sp>
        <p:nvSpPr>
          <p:cNvPr id="75" name="Text Placeholder 2">
            <a:extLst>
              <a:ext uri="{FF2B5EF4-FFF2-40B4-BE49-F238E27FC236}">
                <a16:creationId xmlns:a16="http://schemas.microsoft.com/office/drawing/2014/main" id="{0306395A-6879-4E93-B24E-067F88AC1D69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1298704" y="5321009"/>
            <a:ext cx="1300163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600"/>
              <a:t>Adaptive Boost</a:t>
            </a:r>
            <a:endParaRPr lang="en-US" sz="1600">
              <a:sym typeface="+mn-lt"/>
            </a:endParaRPr>
          </a:p>
        </p:txBody>
      </p:sp>
      <p:sp>
        <p:nvSpPr>
          <p:cNvPr id="93" name="Text Placeholder 2">
            <a:extLst>
              <a:ext uri="{FF2B5EF4-FFF2-40B4-BE49-F238E27FC236}">
                <a16:creationId xmlns:a16="http://schemas.microsoft.com/office/drawing/2014/main" id="{D2644BE7-57A0-4BF7-91E2-34874E1E4E3B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3192269" y="5321009"/>
            <a:ext cx="1262063" cy="438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600"/>
              <a:t>Random Forest</a:t>
            </a:r>
            <a:endParaRPr lang="en-US" sz="1600">
              <a:sym typeface="+mn-lt"/>
            </a:endParaRPr>
          </a:p>
        </p:txBody>
      </p:sp>
      <p:sp>
        <p:nvSpPr>
          <p:cNvPr id="95" name="Text Placeholder 2">
            <a:extLst>
              <a:ext uri="{FF2B5EF4-FFF2-40B4-BE49-F238E27FC236}">
                <a16:creationId xmlns:a16="http://schemas.microsoft.com/office/drawing/2014/main" id="{49F6E826-40A3-4D80-9C52-3F1F4FC8580D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5315702" y="5327068"/>
            <a:ext cx="795338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600"/>
              <a:t>Logistic Regression</a:t>
            </a:r>
            <a:endParaRPr lang="en-US" sz="1600">
              <a:sym typeface="+mn-lt"/>
            </a:endParaRPr>
          </a:p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endParaRPr lang="en-US" sz="1600">
              <a:sym typeface="+mn-lt"/>
            </a:endParaRPr>
          </a:p>
        </p:txBody>
      </p:sp>
      <p:sp>
        <p:nvSpPr>
          <p:cNvPr id="144" name="Text Placeholder 2">
            <a:extLst>
              <a:ext uri="{FF2B5EF4-FFF2-40B4-BE49-F238E27FC236}">
                <a16:creationId xmlns:a16="http://schemas.microsoft.com/office/drawing/2014/main" id="{5E81AE2F-55E2-451B-AF5C-95CDBB880239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8975594" y="5321009"/>
            <a:ext cx="977900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600">
                <a:sym typeface="+mn-lt"/>
              </a:rPr>
              <a:t>DNN</a:t>
            </a:r>
          </a:p>
        </p:txBody>
      </p:sp>
      <p:sp>
        <p:nvSpPr>
          <p:cNvPr id="78" name="Text Placeholder 2">
            <a:extLst>
              <a:ext uri="{FF2B5EF4-FFF2-40B4-BE49-F238E27FC236}">
                <a16:creationId xmlns:a16="http://schemas.microsoft.com/office/drawing/2014/main" id="{0306395A-6879-4E93-B24E-067F88AC1D69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10496674" y="3516021"/>
            <a:ext cx="382588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6552C6D1-A72B-4728-B8BC-4B5DE79D6EE6}" type="datetime'''A''''''''''''''''''''''''''''''''''UC'''''''''''''''''">
              <a:rPr lang="en-US" altLang="en-US" sz="16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AUC</a:t>
            </a:fld>
            <a:endParaRPr lang="en-US" sz="1600">
              <a:sym typeface="+mn-lt"/>
            </a:endParaRPr>
          </a:p>
        </p:txBody>
      </p:sp>
      <p:sp>
        <p:nvSpPr>
          <p:cNvPr id="113" name="Text Placeholder 2">
            <a:extLst>
              <a:ext uri="{FF2B5EF4-FFF2-40B4-BE49-F238E27FC236}">
                <a16:creationId xmlns:a16="http://schemas.microsoft.com/office/drawing/2014/main" id="{0306395A-6879-4E93-B24E-067F88AC1D69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1403600" y="3699879"/>
            <a:ext cx="542925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8575" tIns="0" rIns="2857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600"/>
              <a:t>88.3%</a:t>
            </a:r>
            <a:endParaRPr lang="en-US" sz="1600">
              <a:sym typeface="+mn-lt"/>
            </a:endParaRPr>
          </a:p>
        </p:txBody>
      </p:sp>
      <p:sp>
        <p:nvSpPr>
          <p:cNvPr id="116" name="Text Placeholder 2">
            <a:extLst>
              <a:ext uri="{FF2B5EF4-FFF2-40B4-BE49-F238E27FC236}">
                <a16:creationId xmlns:a16="http://schemas.microsoft.com/office/drawing/2014/main" id="{0306395A-6879-4E93-B24E-067F88AC1D69}"/>
              </a:ext>
            </a:extLst>
          </p:cNvPr>
          <p:cNvSpPr>
            <a:spLocks noGrp="1"/>
          </p:cNvSpPr>
          <p:nvPr/>
        </p:nvSpPr>
        <p:spPr bwMode="gray">
          <a:xfrm>
            <a:off x="5072816" y="3178686"/>
            <a:ext cx="571500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8575" tIns="0" rIns="2857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600"/>
              <a:t>88.9</a:t>
            </a:r>
            <a:endParaRPr lang="en-US" sz="1600">
              <a:sym typeface="+mn-lt"/>
            </a:endParaRPr>
          </a:p>
        </p:txBody>
      </p:sp>
      <p:sp>
        <p:nvSpPr>
          <p:cNvPr id="117" name="Text Placeholder 2">
            <a:extLst>
              <a:ext uri="{FF2B5EF4-FFF2-40B4-BE49-F238E27FC236}">
                <a16:creationId xmlns:a16="http://schemas.microsoft.com/office/drawing/2014/main" id="{0306395A-6879-4E93-B24E-067F88AC1D69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6934323" y="2492877"/>
            <a:ext cx="576263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8575" tIns="0" rIns="2857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600"/>
              <a:t>89.7</a:t>
            </a:r>
            <a:endParaRPr lang="en-US" sz="1600">
              <a:sym typeface="+mn-lt"/>
            </a:endParaRPr>
          </a:p>
        </p:txBody>
      </p:sp>
      <p:sp>
        <p:nvSpPr>
          <p:cNvPr id="118" name="Text Placeholder 2">
            <a:extLst>
              <a:ext uri="{FF2B5EF4-FFF2-40B4-BE49-F238E27FC236}">
                <a16:creationId xmlns:a16="http://schemas.microsoft.com/office/drawing/2014/main" id="{0306395A-6879-4E93-B24E-067F88AC1D69}"/>
              </a:ext>
            </a:extLst>
          </p:cNvPr>
          <p:cNvSpPr>
            <a:spLocks noGrp="1"/>
          </p:cNvSpPr>
          <p:nvPr/>
        </p:nvSpPr>
        <p:spPr bwMode="gray">
          <a:xfrm>
            <a:off x="7673582" y="2254751"/>
            <a:ext cx="577850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8575" tIns="0" rIns="2857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600"/>
              <a:t>90.1</a:t>
            </a:r>
            <a:endParaRPr lang="en-US" sz="1600">
              <a:sym typeface="+mn-lt"/>
            </a:endParaRPr>
          </a:p>
        </p:txBody>
      </p:sp>
      <p:sp>
        <p:nvSpPr>
          <p:cNvPr id="146" name="Text Placeholder 2">
            <a:extLst>
              <a:ext uri="{FF2B5EF4-FFF2-40B4-BE49-F238E27FC236}">
                <a16:creationId xmlns:a16="http://schemas.microsoft.com/office/drawing/2014/main" id="{7725B128-E1DC-4FE9-9410-5AED627E6D67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9542713" y="2045201"/>
            <a:ext cx="576263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8575" tIns="0" rIns="2857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600">
                <a:sym typeface="+mn-lt"/>
              </a:rPr>
              <a:t>90.3%</a:t>
            </a:r>
            <a:endParaRPr lang="en-US" sz="1600">
              <a:sym typeface="+mn-lt"/>
            </a:endParaRPr>
          </a:p>
        </p:txBody>
      </p:sp>
      <p:sp>
        <p:nvSpPr>
          <p:cNvPr id="115" name="Text Placeholder 2">
            <a:extLst>
              <a:ext uri="{FF2B5EF4-FFF2-40B4-BE49-F238E27FC236}">
                <a16:creationId xmlns:a16="http://schemas.microsoft.com/office/drawing/2014/main" id="{0306395A-6879-4E93-B24E-067F88AC1D69}"/>
              </a:ext>
            </a:extLst>
          </p:cNvPr>
          <p:cNvSpPr>
            <a:spLocks noGrp="1"/>
          </p:cNvSpPr>
          <p:nvPr/>
        </p:nvSpPr>
        <p:spPr bwMode="gray">
          <a:xfrm>
            <a:off x="3216399" y="3653549"/>
            <a:ext cx="577850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8575" tIns="0" rIns="2857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600"/>
              <a:t>88.4%</a:t>
            </a:r>
            <a:endParaRPr lang="en-US" sz="1600">
              <a:sym typeface="+mn-lt"/>
            </a:endParaRPr>
          </a:p>
        </p:txBody>
      </p:sp>
      <p:sp>
        <p:nvSpPr>
          <p:cNvPr id="114" name="Text Placeholder 2">
            <a:extLst>
              <a:ext uri="{FF2B5EF4-FFF2-40B4-BE49-F238E27FC236}">
                <a16:creationId xmlns:a16="http://schemas.microsoft.com/office/drawing/2014/main" id="{0306395A-6879-4E93-B24E-067F88AC1D69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2136898" y="3238501"/>
            <a:ext cx="542925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8575" tIns="0" rIns="2857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600"/>
              <a:t>88.8%</a:t>
            </a:r>
            <a:endParaRPr lang="en-US" sz="1600">
              <a:sym typeface="+mn-lt"/>
            </a:endParaRPr>
          </a:p>
        </p:txBody>
      </p:sp>
      <p:sp>
        <p:nvSpPr>
          <p:cNvPr id="53" name="Text Placeholder 2">
            <a:extLst>
              <a:ext uri="{FF2B5EF4-FFF2-40B4-BE49-F238E27FC236}">
                <a16:creationId xmlns:a16="http://schemas.microsoft.com/office/drawing/2014/main" id="{28E02B6F-B018-4775-986E-0AC31DE9BED7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3940305" y="3134431"/>
            <a:ext cx="577850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8575" tIns="0" rIns="2857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600"/>
              <a:t>89.1%</a:t>
            </a:r>
            <a:endParaRPr lang="en-US" sz="1600">
              <a:sym typeface="+mn-lt"/>
            </a:endParaRPr>
          </a:p>
        </p:txBody>
      </p:sp>
      <p:sp>
        <p:nvSpPr>
          <p:cNvPr id="54" name="Text Placeholder 2">
            <a:extLst>
              <a:ext uri="{FF2B5EF4-FFF2-40B4-BE49-F238E27FC236}">
                <a16:creationId xmlns:a16="http://schemas.microsoft.com/office/drawing/2014/main" id="{78E95D84-61CC-40EC-9C01-7E8FD7D53789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5787200" y="2835781"/>
            <a:ext cx="571500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8575" tIns="0" rIns="2857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600"/>
              <a:t>89.4</a:t>
            </a:r>
            <a:endParaRPr lang="en-US" sz="1600">
              <a:sym typeface="+mn-lt"/>
            </a:endParaRPr>
          </a:p>
        </p:txBody>
      </p:sp>
      <p:sp>
        <p:nvSpPr>
          <p:cNvPr id="55" name="Text Placeholder 2">
            <a:extLst>
              <a:ext uri="{FF2B5EF4-FFF2-40B4-BE49-F238E27FC236}">
                <a16:creationId xmlns:a16="http://schemas.microsoft.com/office/drawing/2014/main" id="{F4F80877-82B9-4142-B1E0-345E595B46AD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8754681" y="2621467"/>
            <a:ext cx="577850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8575" tIns="0" rIns="2857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600"/>
              <a:t>89.6</a:t>
            </a:r>
            <a:endParaRPr lang="en-US" sz="1600">
              <a:sym typeface="+mn-lt"/>
            </a:endParaRP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D9AE232A-CA48-4CA9-897E-23A52F8D27B2}"/>
              </a:ext>
            </a:extLst>
          </p:cNvPr>
          <p:cNvSpPr/>
          <p:nvPr/>
        </p:nvSpPr>
        <p:spPr>
          <a:xfrm>
            <a:off x="0" y="293170"/>
            <a:ext cx="1757680" cy="741204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2FC37A9A-4EEF-4AC4-BF8F-A1682E706BC7}"/>
              </a:ext>
            </a:extLst>
          </p:cNvPr>
          <p:cNvSpPr/>
          <p:nvPr/>
        </p:nvSpPr>
        <p:spPr>
          <a:xfrm>
            <a:off x="8575041" y="293170"/>
            <a:ext cx="3616959" cy="741204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0246E53E-09F8-4AB0-A868-38DCFDC1FB51}"/>
              </a:ext>
            </a:extLst>
          </p:cNvPr>
          <p:cNvSpPr/>
          <p:nvPr/>
        </p:nvSpPr>
        <p:spPr>
          <a:xfrm>
            <a:off x="1757681" y="293170"/>
            <a:ext cx="6817360" cy="74120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erformance of models before/after tuning</a:t>
            </a:r>
          </a:p>
        </p:txBody>
      </p:sp>
    </p:spTree>
    <p:extLst>
      <p:ext uri="{BB962C8B-B14F-4D97-AF65-F5344CB8AC3E}">
        <p14:creationId xmlns:p14="http://schemas.microsoft.com/office/powerpoint/2010/main" val="446347581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" name="Object 39" hidden="1">
            <a:extLst>
              <a:ext uri="{FF2B5EF4-FFF2-40B4-BE49-F238E27FC236}">
                <a16:creationId xmlns:a16="http://schemas.microsoft.com/office/drawing/2014/main" id="{B7E2212F-20D1-4C97-A277-10A04A6D560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499829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4" name="think-cell Slide" r:id="rId6" imgW="425" imgH="424" progId="TCLayout.ActiveDocument.1">
                  <p:embed/>
                </p:oleObj>
              </mc:Choice>
              <mc:Fallback>
                <p:oleObj name="think-cell Slide" r:id="rId6" imgW="425" imgH="424" progId="TCLayout.ActiveDocument.1">
                  <p:embed/>
                  <p:pic>
                    <p:nvPicPr>
                      <p:cNvPr id="40" name="Object 39" hidden="1">
                        <a:extLst>
                          <a:ext uri="{FF2B5EF4-FFF2-40B4-BE49-F238E27FC236}">
                            <a16:creationId xmlns:a16="http://schemas.microsoft.com/office/drawing/2014/main" id="{B7E2212F-20D1-4C97-A277-10A04A6D56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9" name="Rectangle 38" hidden="1">
            <a:extLst>
              <a:ext uri="{FF2B5EF4-FFF2-40B4-BE49-F238E27FC236}">
                <a16:creationId xmlns:a16="http://schemas.microsoft.com/office/drawing/2014/main" id="{E42EBEED-CFFD-4349-B450-7F60A2448EE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dirty="0">
              <a:latin typeface="Calibri Light" panose="020F0302020204030204" pitchFamily="34" charset="0"/>
              <a:ea typeface="+mj-ea"/>
              <a:sym typeface="Calibri Light" panose="020F0302020204030204" pitchFamily="34" charset="0"/>
            </a:endParaRPr>
          </a:p>
        </p:txBody>
      </p:sp>
      <p:sp>
        <p:nvSpPr>
          <p:cNvPr id="7" name="Title 6" hidden="1">
            <a:extLst>
              <a:ext uri="{FF2B5EF4-FFF2-40B4-BE49-F238E27FC236}">
                <a16:creationId xmlns:a16="http://schemas.microsoft.com/office/drawing/2014/main" id="{7C70995F-D8C5-410A-AA8B-1EE172A294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Project analysis slide 10</a:t>
            </a: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D9AE232A-CA48-4CA9-897E-23A52F8D27B2}"/>
              </a:ext>
            </a:extLst>
          </p:cNvPr>
          <p:cNvSpPr/>
          <p:nvPr/>
        </p:nvSpPr>
        <p:spPr>
          <a:xfrm>
            <a:off x="0" y="293170"/>
            <a:ext cx="1757680" cy="741204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2FC37A9A-4EEF-4AC4-BF8F-A1682E706BC7}"/>
              </a:ext>
            </a:extLst>
          </p:cNvPr>
          <p:cNvSpPr/>
          <p:nvPr/>
        </p:nvSpPr>
        <p:spPr>
          <a:xfrm>
            <a:off x="8575041" y="293170"/>
            <a:ext cx="3616959" cy="741204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0246E53E-09F8-4AB0-A868-38DCFDC1FB51}"/>
              </a:ext>
            </a:extLst>
          </p:cNvPr>
          <p:cNvSpPr/>
          <p:nvPr/>
        </p:nvSpPr>
        <p:spPr>
          <a:xfrm>
            <a:off x="1757681" y="293170"/>
            <a:ext cx="6817360" cy="74120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iltering 18+</a:t>
            </a:r>
          </a:p>
        </p:txBody>
      </p:sp>
      <p:pic>
        <p:nvPicPr>
          <p:cNvPr id="26" name="Picture 6" descr="A screenshot of a cell phone&#10;&#10;Description generated with very high confidence">
            <a:extLst>
              <a:ext uri="{FF2B5EF4-FFF2-40B4-BE49-F238E27FC236}">
                <a16:creationId xmlns:a16="http://schemas.microsoft.com/office/drawing/2014/main" id="{AEA13B4B-3D71-F743-AC9F-F8B41B65BDFE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93234" y="1803769"/>
            <a:ext cx="10564282" cy="40812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843989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>
            <a:extLst>
              <a:ext uri="{FF2B5EF4-FFF2-40B4-BE49-F238E27FC236}">
                <a16:creationId xmlns:a16="http://schemas.microsoft.com/office/drawing/2014/main" id="{AAFC420C-3A5D-4789-A697-DC3BBD29CEE3}"/>
              </a:ext>
            </a:extLst>
          </p:cNvPr>
          <p:cNvSpPr/>
          <p:nvPr/>
        </p:nvSpPr>
        <p:spPr>
          <a:xfrm>
            <a:off x="0" y="264294"/>
            <a:ext cx="1757680" cy="741204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C98781B0-9064-46C2-8497-AAAE84DCA1CC}"/>
              </a:ext>
            </a:extLst>
          </p:cNvPr>
          <p:cNvSpPr/>
          <p:nvPr/>
        </p:nvSpPr>
        <p:spPr>
          <a:xfrm>
            <a:off x="8575041" y="293170"/>
            <a:ext cx="3616959" cy="741204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2B495259-37AB-4B6D-BD31-B118894F75D0}"/>
              </a:ext>
            </a:extLst>
          </p:cNvPr>
          <p:cNvSpPr/>
          <p:nvPr/>
        </p:nvSpPr>
        <p:spPr>
          <a:xfrm>
            <a:off x="1757681" y="293170"/>
            <a:ext cx="6817360" cy="74120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dirty="0">
                <a:solidFill>
                  <a:schemeClr val="tx1"/>
                </a:solidFill>
              </a:rPr>
              <a:t>Agenda</a:t>
            </a:r>
          </a:p>
        </p:txBody>
      </p:sp>
      <p:pic>
        <p:nvPicPr>
          <p:cNvPr id="34" name="Picture 13">
            <a:extLst>
              <a:ext uri="{FF2B5EF4-FFF2-40B4-BE49-F238E27FC236}">
                <a16:creationId xmlns:a16="http://schemas.microsoft.com/office/drawing/2014/main" id="{40EEE022-CD05-0249-9510-DED9EC311DB6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6359714" y="1359318"/>
            <a:ext cx="1256741" cy="969629"/>
          </a:xfrm>
          <a:prstGeom prst="rect">
            <a:avLst/>
          </a:prstGeom>
        </p:spPr>
      </p:pic>
      <p:grpSp>
        <p:nvGrpSpPr>
          <p:cNvPr id="35" name="Group 14">
            <a:extLst>
              <a:ext uri="{FF2B5EF4-FFF2-40B4-BE49-F238E27FC236}">
                <a16:creationId xmlns:a16="http://schemas.microsoft.com/office/drawing/2014/main" id="{ACD3D8CF-EBB4-1F49-AEC2-BC36EA860B56}"/>
              </a:ext>
            </a:extLst>
          </p:cNvPr>
          <p:cNvGrpSpPr/>
          <p:nvPr/>
        </p:nvGrpSpPr>
        <p:grpSpPr>
          <a:xfrm>
            <a:off x="6154924" y="2371551"/>
            <a:ext cx="1666322" cy="3111282"/>
            <a:chOff x="5105400" y="1447800"/>
            <a:chExt cx="1828800" cy="3159974"/>
          </a:xfrm>
        </p:grpSpPr>
        <p:sp>
          <p:nvSpPr>
            <p:cNvPr id="36" name="Rounded Rectangle 35">
              <a:extLst>
                <a:ext uri="{FF2B5EF4-FFF2-40B4-BE49-F238E27FC236}">
                  <a16:creationId xmlns:a16="http://schemas.microsoft.com/office/drawing/2014/main" id="{6AA64564-0F26-A147-AABE-FE9822711F64}"/>
                </a:ext>
              </a:extLst>
            </p:cNvPr>
            <p:cNvSpPr/>
            <p:nvPr/>
          </p:nvSpPr>
          <p:spPr bwMode="auto">
            <a:xfrm>
              <a:off x="5105400" y="1606330"/>
              <a:ext cx="1828800" cy="3001444"/>
            </a:xfrm>
            <a:prstGeom prst="roundRect">
              <a:avLst>
                <a:gd name="adj" fmla="val 9281"/>
              </a:avLst>
            </a:prstGeom>
            <a:noFill/>
            <a:ln w="38100">
              <a:solidFill>
                <a:schemeClr val="tx1">
                  <a:lumMod val="50000"/>
                  <a:lumOff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/>
            </a:p>
          </p:txBody>
        </p:sp>
        <p:sp>
          <p:nvSpPr>
            <p:cNvPr id="37" name="Round Same Side Corner Rectangle 36">
              <a:extLst>
                <a:ext uri="{FF2B5EF4-FFF2-40B4-BE49-F238E27FC236}">
                  <a16:creationId xmlns:a16="http://schemas.microsoft.com/office/drawing/2014/main" id="{9F025D63-117A-D94C-B3CC-CF250DF26360}"/>
                </a:ext>
              </a:extLst>
            </p:cNvPr>
            <p:cNvSpPr/>
            <p:nvPr/>
          </p:nvSpPr>
          <p:spPr bwMode="auto">
            <a:xfrm>
              <a:off x="5791199" y="1447800"/>
              <a:ext cx="457202" cy="152400"/>
            </a:xfrm>
            <a:prstGeom prst="round2SameRect">
              <a:avLst>
                <a:gd name="adj1" fmla="val 19792"/>
                <a:gd name="adj2" fmla="val 0"/>
              </a:avLst>
            </a:prstGeom>
            <a:solidFill>
              <a:schemeClr val="tx1">
                <a:lumMod val="50000"/>
                <a:lumOff val="50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/>
            </a:p>
          </p:txBody>
        </p:sp>
      </p:grpSp>
      <p:cxnSp>
        <p:nvCxnSpPr>
          <p:cNvPr id="38" name="Shape 62">
            <a:extLst>
              <a:ext uri="{FF2B5EF4-FFF2-40B4-BE49-F238E27FC236}">
                <a16:creationId xmlns:a16="http://schemas.microsoft.com/office/drawing/2014/main" id="{FE90F121-8A26-E247-B6A7-D4791F0218EE}"/>
              </a:ext>
            </a:extLst>
          </p:cNvPr>
          <p:cNvCxnSpPr/>
          <p:nvPr/>
        </p:nvCxnSpPr>
        <p:spPr>
          <a:xfrm rot="16200000" flipH="1">
            <a:off x="7495429" y="1864208"/>
            <a:ext cx="1504950" cy="2519639"/>
          </a:xfrm>
          <a:prstGeom prst="bentConnector4">
            <a:avLst>
              <a:gd name="adj1" fmla="val -15190"/>
              <a:gd name="adj2" fmla="val 54133"/>
            </a:avLst>
          </a:prstGeom>
          <a:ln w="19050">
            <a:solidFill>
              <a:schemeClr val="tx1">
                <a:lumMod val="50000"/>
                <a:lumOff val="50000"/>
              </a:schemeClr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hape 26">
            <a:extLst>
              <a:ext uri="{FF2B5EF4-FFF2-40B4-BE49-F238E27FC236}">
                <a16:creationId xmlns:a16="http://schemas.microsoft.com/office/drawing/2014/main" id="{CFEABCC4-1950-5C44-9F15-517D644B30AA}"/>
              </a:ext>
            </a:extLst>
          </p:cNvPr>
          <p:cNvCxnSpPr/>
          <p:nvPr/>
        </p:nvCxnSpPr>
        <p:spPr>
          <a:xfrm rot="5400000" flipH="1" flipV="1">
            <a:off x="7495430" y="3470539"/>
            <a:ext cx="1504950" cy="2519639"/>
          </a:xfrm>
          <a:prstGeom prst="bentConnector4">
            <a:avLst>
              <a:gd name="adj1" fmla="val -15190"/>
              <a:gd name="adj2" fmla="val 54133"/>
            </a:avLst>
          </a:prstGeom>
          <a:ln w="19050">
            <a:solidFill>
              <a:schemeClr val="tx1">
                <a:lumMod val="50000"/>
                <a:lumOff val="50000"/>
              </a:schemeClr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0" name="Group 37">
            <a:extLst>
              <a:ext uri="{FF2B5EF4-FFF2-40B4-BE49-F238E27FC236}">
                <a16:creationId xmlns:a16="http://schemas.microsoft.com/office/drawing/2014/main" id="{29ABE6E7-62D6-C04D-ACFE-6C3DB283E0DC}"/>
              </a:ext>
            </a:extLst>
          </p:cNvPr>
          <p:cNvGrpSpPr/>
          <p:nvPr/>
        </p:nvGrpSpPr>
        <p:grpSpPr>
          <a:xfrm>
            <a:off x="8653937" y="3288510"/>
            <a:ext cx="1310988" cy="1310984"/>
            <a:chOff x="7147213" y="2364759"/>
            <a:chExt cx="1310988" cy="1310984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A143448C-9BD2-0D4F-B4E6-6EF1AF4DF23D}"/>
                </a:ext>
              </a:extLst>
            </p:cNvPr>
            <p:cNvSpPr/>
            <p:nvPr/>
          </p:nvSpPr>
          <p:spPr>
            <a:xfrm>
              <a:off x="7147213" y="2364759"/>
              <a:ext cx="1310988" cy="1310984"/>
            </a:xfrm>
            <a:custGeom>
              <a:avLst/>
              <a:gdLst>
                <a:gd name="connsiteX0" fmla="*/ 0 w 661361"/>
                <a:gd name="connsiteY0" fmla="*/ 330681 h 661361"/>
                <a:gd name="connsiteX1" fmla="*/ 96855 w 661361"/>
                <a:gd name="connsiteY1" fmla="*/ 96854 h 661361"/>
                <a:gd name="connsiteX2" fmla="*/ 330682 w 661361"/>
                <a:gd name="connsiteY2" fmla="*/ 0 h 661361"/>
                <a:gd name="connsiteX3" fmla="*/ 564509 w 661361"/>
                <a:gd name="connsiteY3" fmla="*/ 96855 h 661361"/>
                <a:gd name="connsiteX4" fmla="*/ 661363 w 661361"/>
                <a:gd name="connsiteY4" fmla="*/ 330682 h 661361"/>
                <a:gd name="connsiteX5" fmla="*/ 564509 w 661361"/>
                <a:gd name="connsiteY5" fmla="*/ 564509 h 661361"/>
                <a:gd name="connsiteX6" fmla="*/ 330682 w 661361"/>
                <a:gd name="connsiteY6" fmla="*/ 661363 h 661361"/>
                <a:gd name="connsiteX7" fmla="*/ 96855 w 661361"/>
                <a:gd name="connsiteY7" fmla="*/ 564509 h 661361"/>
                <a:gd name="connsiteX8" fmla="*/ 1 w 661361"/>
                <a:gd name="connsiteY8" fmla="*/ 330682 h 661361"/>
                <a:gd name="connsiteX9" fmla="*/ 0 w 661361"/>
                <a:gd name="connsiteY9" fmla="*/ 330681 h 6613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61361" h="661361">
                  <a:moveTo>
                    <a:pt x="0" y="330681"/>
                  </a:moveTo>
                  <a:cubicBezTo>
                    <a:pt x="0" y="242979"/>
                    <a:pt x="34840" y="158869"/>
                    <a:pt x="96855" y="96854"/>
                  </a:cubicBezTo>
                  <a:cubicBezTo>
                    <a:pt x="158870" y="34839"/>
                    <a:pt x="242980" y="0"/>
                    <a:pt x="330682" y="0"/>
                  </a:cubicBezTo>
                  <a:cubicBezTo>
                    <a:pt x="418384" y="0"/>
                    <a:pt x="502494" y="34840"/>
                    <a:pt x="564509" y="96855"/>
                  </a:cubicBezTo>
                  <a:cubicBezTo>
                    <a:pt x="626524" y="158870"/>
                    <a:pt x="661363" y="242980"/>
                    <a:pt x="661363" y="330682"/>
                  </a:cubicBezTo>
                  <a:cubicBezTo>
                    <a:pt x="661363" y="418384"/>
                    <a:pt x="626523" y="502494"/>
                    <a:pt x="564509" y="564509"/>
                  </a:cubicBezTo>
                  <a:cubicBezTo>
                    <a:pt x="502494" y="626524"/>
                    <a:pt x="418384" y="661363"/>
                    <a:pt x="330682" y="661363"/>
                  </a:cubicBezTo>
                  <a:cubicBezTo>
                    <a:pt x="242980" y="661363"/>
                    <a:pt x="158870" y="626523"/>
                    <a:pt x="96855" y="564509"/>
                  </a:cubicBezTo>
                  <a:cubicBezTo>
                    <a:pt x="34840" y="502494"/>
                    <a:pt x="1" y="418384"/>
                    <a:pt x="1" y="330682"/>
                  </a:cubicBezTo>
                  <a:lnTo>
                    <a:pt x="0" y="330681"/>
                  </a:lnTo>
                  <a:close/>
                </a:path>
              </a:pathLst>
            </a:custGeom>
            <a:solidFill>
              <a:srgbClr val="8E8E8E"/>
            </a:solidFill>
            <a:ln w="19050"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06379" tIns="106379" rIns="106379" bIns="106379" numCol="1" spcCol="1270" anchor="ctr" anchorCtr="0">
              <a:noAutofit/>
            </a:bodyPr>
            <a:lstStyle/>
            <a:p>
              <a:pPr algn="ctr" defTabSz="6667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en-US" sz="4000"/>
            </a:p>
          </p:txBody>
        </p:sp>
        <p:grpSp>
          <p:nvGrpSpPr>
            <p:cNvPr id="42" name="Group 34">
              <a:extLst>
                <a:ext uri="{FF2B5EF4-FFF2-40B4-BE49-F238E27FC236}">
                  <a16:creationId xmlns:a16="http://schemas.microsoft.com/office/drawing/2014/main" id="{8E9436D1-E045-7444-B99D-69D20009E843}"/>
                </a:ext>
              </a:extLst>
            </p:cNvPr>
            <p:cNvGrpSpPr/>
            <p:nvPr/>
          </p:nvGrpSpPr>
          <p:grpSpPr>
            <a:xfrm>
              <a:off x="7530095" y="2623561"/>
              <a:ext cx="545225" cy="793380"/>
              <a:chOff x="4075113" y="1909763"/>
              <a:chExt cx="247650" cy="360363"/>
            </a:xfrm>
            <a:solidFill>
              <a:schemeClr val="bg1"/>
            </a:solidFill>
          </p:grpSpPr>
          <p:sp>
            <p:nvSpPr>
              <p:cNvPr id="43" name="Freeform 78">
                <a:extLst>
                  <a:ext uri="{FF2B5EF4-FFF2-40B4-BE49-F238E27FC236}">
                    <a16:creationId xmlns:a16="http://schemas.microsoft.com/office/drawing/2014/main" id="{11CB7CF8-7BE7-F540-ACBC-361DD29398D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075113" y="1909763"/>
                <a:ext cx="247650" cy="360363"/>
              </a:xfrm>
              <a:custGeom>
                <a:avLst/>
                <a:gdLst/>
                <a:ahLst/>
                <a:cxnLst>
                  <a:cxn ang="0">
                    <a:pos x="42" y="0"/>
                  </a:cxn>
                  <a:cxn ang="0">
                    <a:pos x="0" y="42"/>
                  </a:cxn>
                  <a:cxn ang="0">
                    <a:pos x="19" y="88"/>
                  </a:cxn>
                  <a:cxn ang="0">
                    <a:pos x="42" y="123"/>
                  </a:cxn>
                  <a:cxn ang="0">
                    <a:pos x="65" y="88"/>
                  </a:cxn>
                  <a:cxn ang="0">
                    <a:pos x="85" y="42"/>
                  </a:cxn>
                  <a:cxn ang="0">
                    <a:pos x="42" y="0"/>
                  </a:cxn>
                  <a:cxn ang="0">
                    <a:pos x="52" y="104"/>
                  </a:cxn>
                  <a:cxn ang="0">
                    <a:pos x="33" y="106"/>
                  </a:cxn>
                  <a:cxn ang="0">
                    <a:pos x="31" y="99"/>
                  </a:cxn>
                  <a:cxn ang="0">
                    <a:pos x="31" y="99"/>
                  </a:cxn>
                  <a:cxn ang="0">
                    <a:pos x="55" y="96"/>
                  </a:cxn>
                  <a:cxn ang="0">
                    <a:pos x="54" y="99"/>
                  </a:cxn>
                  <a:cxn ang="0">
                    <a:pos x="52" y="104"/>
                  </a:cxn>
                  <a:cxn ang="0">
                    <a:pos x="30" y="95"/>
                  </a:cxn>
                  <a:cxn ang="0">
                    <a:pos x="27" y="88"/>
                  </a:cxn>
                  <a:cxn ang="0">
                    <a:pos x="57" y="88"/>
                  </a:cxn>
                  <a:cxn ang="0">
                    <a:pos x="56" y="92"/>
                  </a:cxn>
                  <a:cxn ang="0">
                    <a:pos x="30" y="95"/>
                  </a:cxn>
                  <a:cxn ang="0">
                    <a:pos x="42" y="115"/>
                  </a:cxn>
                  <a:cxn ang="0">
                    <a:pos x="35" y="110"/>
                  </a:cxn>
                  <a:cxn ang="0">
                    <a:pos x="51" y="108"/>
                  </a:cxn>
                  <a:cxn ang="0">
                    <a:pos x="42" y="115"/>
                  </a:cxn>
                  <a:cxn ang="0">
                    <a:pos x="60" y="80"/>
                  </a:cxn>
                  <a:cxn ang="0">
                    <a:pos x="24" y="80"/>
                  </a:cxn>
                  <a:cxn ang="0">
                    <a:pos x="18" y="68"/>
                  </a:cxn>
                  <a:cxn ang="0">
                    <a:pos x="8" y="42"/>
                  </a:cxn>
                  <a:cxn ang="0">
                    <a:pos x="42" y="8"/>
                  </a:cxn>
                  <a:cxn ang="0">
                    <a:pos x="77" y="42"/>
                  </a:cxn>
                  <a:cxn ang="0">
                    <a:pos x="67" y="68"/>
                  </a:cxn>
                  <a:cxn ang="0">
                    <a:pos x="60" y="80"/>
                  </a:cxn>
                  <a:cxn ang="0">
                    <a:pos x="60" y="80"/>
                  </a:cxn>
                  <a:cxn ang="0">
                    <a:pos x="60" y="80"/>
                  </a:cxn>
                </a:cxnLst>
                <a:rect l="0" t="0" r="r" b="b"/>
                <a:pathLst>
                  <a:path w="85" h="123">
                    <a:moveTo>
                      <a:pt x="42" y="0"/>
                    </a:moveTo>
                    <a:cubicBezTo>
                      <a:pt x="19" y="0"/>
                      <a:pt x="0" y="19"/>
                      <a:pt x="0" y="42"/>
                    </a:cubicBezTo>
                    <a:cubicBezTo>
                      <a:pt x="0" y="57"/>
                      <a:pt x="14" y="74"/>
                      <a:pt x="19" y="88"/>
                    </a:cubicBezTo>
                    <a:cubicBezTo>
                      <a:pt x="27" y="110"/>
                      <a:pt x="26" y="123"/>
                      <a:pt x="42" y="123"/>
                    </a:cubicBezTo>
                    <a:cubicBezTo>
                      <a:pt x="59" y="123"/>
                      <a:pt x="58" y="110"/>
                      <a:pt x="65" y="88"/>
                    </a:cubicBezTo>
                    <a:cubicBezTo>
                      <a:pt x="70" y="74"/>
                      <a:pt x="85" y="57"/>
                      <a:pt x="85" y="42"/>
                    </a:cubicBezTo>
                    <a:cubicBezTo>
                      <a:pt x="85" y="19"/>
                      <a:pt x="66" y="0"/>
                      <a:pt x="42" y="0"/>
                    </a:cubicBezTo>
                    <a:close/>
                    <a:moveTo>
                      <a:pt x="52" y="104"/>
                    </a:moveTo>
                    <a:cubicBezTo>
                      <a:pt x="33" y="106"/>
                      <a:pt x="33" y="106"/>
                      <a:pt x="33" y="106"/>
                    </a:cubicBezTo>
                    <a:cubicBezTo>
                      <a:pt x="33" y="104"/>
                      <a:pt x="32" y="102"/>
                      <a:pt x="31" y="99"/>
                    </a:cubicBezTo>
                    <a:cubicBezTo>
                      <a:pt x="31" y="99"/>
                      <a:pt x="31" y="99"/>
                      <a:pt x="31" y="99"/>
                    </a:cubicBezTo>
                    <a:cubicBezTo>
                      <a:pt x="55" y="96"/>
                      <a:pt x="55" y="96"/>
                      <a:pt x="55" y="96"/>
                    </a:cubicBezTo>
                    <a:cubicBezTo>
                      <a:pt x="54" y="97"/>
                      <a:pt x="54" y="98"/>
                      <a:pt x="54" y="99"/>
                    </a:cubicBezTo>
                    <a:cubicBezTo>
                      <a:pt x="53" y="101"/>
                      <a:pt x="53" y="103"/>
                      <a:pt x="52" y="104"/>
                    </a:cubicBezTo>
                    <a:close/>
                    <a:moveTo>
                      <a:pt x="30" y="95"/>
                    </a:moveTo>
                    <a:cubicBezTo>
                      <a:pt x="29" y="93"/>
                      <a:pt x="28" y="91"/>
                      <a:pt x="27" y="88"/>
                    </a:cubicBezTo>
                    <a:cubicBezTo>
                      <a:pt x="57" y="88"/>
                      <a:pt x="57" y="88"/>
                      <a:pt x="57" y="88"/>
                    </a:cubicBezTo>
                    <a:cubicBezTo>
                      <a:pt x="57" y="89"/>
                      <a:pt x="56" y="91"/>
                      <a:pt x="56" y="92"/>
                    </a:cubicBezTo>
                    <a:lnTo>
                      <a:pt x="30" y="95"/>
                    </a:lnTo>
                    <a:close/>
                    <a:moveTo>
                      <a:pt x="42" y="115"/>
                    </a:moveTo>
                    <a:cubicBezTo>
                      <a:pt x="38" y="115"/>
                      <a:pt x="37" y="114"/>
                      <a:pt x="35" y="110"/>
                    </a:cubicBezTo>
                    <a:cubicBezTo>
                      <a:pt x="51" y="108"/>
                      <a:pt x="51" y="108"/>
                      <a:pt x="51" y="108"/>
                    </a:cubicBezTo>
                    <a:cubicBezTo>
                      <a:pt x="49" y="114"/>
                      <a:pt x="47" y="115"/>
                      <a:pt x="42" y="115"/>
                    </a:cubicBezTo>
                    <a:close/>
                    <a:moveTo>
                      <a:pt x="60" y="80"/>
                    </a:moveTo>
                    <a:cubicBezTo>
                      <a:pt x="24" y="80"/>
                      <a:pt x="24" y="80"/>
                      <a:pt x="24" y="80"/>
                    </a:cubicBezTo>
                    <a:cubicBezTo>
                      <a:pt x="23" y="76"/>
                      <a:pt x="20" y="72"/>
                      <a:pt x="18" y="68"/>
                    </a:cubicBezTo>
                    <a:cubicBezTo>
                      <a:pt x="13" y="59"/>
                      <a:pt x="8" y="50"/>
                      <a:pt x="8" y="42"/>
                    </a:cubicBezTo>
                    <a:cubicBezTo>
                      <a:pt x="8" y="23"/>
                      <a:pt x="23" y="8"/>
                      <a:pt x="42" y="8"/>
                    </a:cubicBezTo>
                    <a:cubicBezTo>
                      <a:pt x="61" y="8"/>
                      <a:pt x="77" y="23"/>
                      <a:pt x="77" y="42"/>
                    </a:cubicBezTo>
                    <a:cubicBezTo>
                      <a:pt x="77" y="50"/>
                      <a:pt x="72" y="59"/>
                      <a:pt x="67" y="68"/>
                    </a:cubicBezTo>
                    <a:cubicBezTo>
                      <a:pt x="64" y="72"/>
                      <a:pt x="62" y="76"/>
                      <a:pt x="60" y="80"/>
                    </a:cubicBezTo>
                    <a:close/>
                    <a:moveTo>
                      <a:pt x="60" y="80"/>
                    </a:moveTo>
                    <a:cubicBezTo>
                      <a:pt x="60" y="80"/>
                      <a:pt x="60" y="80"/>
                      <a:pt x="60" y="8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" name="Freeform 79">
                <a:extLst>
                  <a:ext uri="{FF2B5EF4-FFF2-40B4-BE49-F238E27FC236}">
                    <a16:creationId xmlns:a16="http://schemas.microsoft.com/office/drawing/2014/main" id="{0378F7F3-E23D-D54F-8DB4-E366ACC4F31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130675" y="1965326"/>
                <a:ext cx="73025" cy="73025"/>
              </a:xfrm>
              <a:custGeom>
                <a:avLst/>
                <a:gdLst/>
                <a:ahLst/>
                <a:cxnLst>
                  <a:cxn ang="0">
                    <a:pos x="23" y="0"/>
                  </a:cxn>
                  <a:cxn ang="0">
                    <a:pos x="0" y="23"/>
                  </a:cxn>
                  <a:cxn ang="0">
                    <a:pos x="2" y="25"/>
                  </a:cxn>
                  <a:cxn ang="0">
                    <a:pos x="4" y="23"/>
                  </a:cxn>
                  <a:cxn ang="0">
                    <a:pos x="23" y="4"/>
                  </a:cxn>
                  <a:cxn ang="0">
                    <a:pos x="25" y="2"/>
                  </a:cxn>
                  <a:cxn ang="0">
                    <a:pos x="23" y="0"/>
                  </a:cxn>
                  <a:cxn ang="0">
                    <a:pos x="23" y="0"/>
                  </a:cxn>
                  <a:cxn ang="0">
                    <a:pos x="23" y="0"/>
                  </a:cxn>
                </a:cxnLst>
                <a:rect l="0" t="0" r="r" b="b"/>
                <a:pathLst>
                  <a:path w="25" h="25">
                    <a:moveTo>
                      <a:pt x="23" y="0"/>
                    </a:moveTo>
                    <a:cubicBezTo>
                      <a:pt x="11" y="0"/>
                      <a:pt x="0" y="10"/>
                      <a:pt x="0" y="23"/>
                    </a:cubicBezTo>
                    <a:cubicBezTo>
                      <a:pt x="0" y="24"/>
                      <a:pt x="1" y="25"/>
                      <a:pt x="2" y="25"/>
                    </a:cubicBezTo>
                    <a:cubicBezTo>
                      <a:pt x="3" y="25"/>
                      <a:pt x="4" y="24"/>
                      <a:pt x="4" y="23"/>
                    </a:cubicBezTo>
                    <a:cubicBezTo>
                      <a:pt x="4" y="12"/>
                      <a:pt x="13" y="4"/>
                      <a:pt x="23" y="4"/>
                    </a:cubicBezTo>
                    <a:cubicBezTo>
                      <a:pt x="24" y="4"/>
                      <a:pt x="25" y="3"/>
                      <a:pt x="25" y="2"/>
                    </a:cubicBezTo>
                    <a:cubicBezTo>
                      <a:pt x="25" y="1"/>
                      <a:pt x="24" y="0"/>
                      <a:pt x="23" y="0"/>
                    </a:cubicBezTo>
                    <a:close/>
                    <a:moveTo>
                      <a:pt x="23" y="0"/>
                    </a:moveTo>
                    <a:cubicBezTo>
                      <a:pt x="23" y="0"/>
                      <a:pt x="23" y="0"/>
                      <a:pt x="23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45" name="Round Same Side Corner Rectangle 44">
            <a:extLst>
              <a:ext uri="{FF2B5EF4-FFF2-40B4-BE49-F238E27FC236}">
                <a16:creationId xmlns:a16="http://schemas.microsoft.com/office/drawing/2014/main" id="{A2B6DD32-2B44-5648-9752-F4708001A82C}"/>
              </a:ext>
            </a:extLst>
          </p:cNvPr>
          <p:cNvSpPr/>
          <p:nvPr/>
        </p:nvSpPr>
        <p:spPr bwMode="auto">
          <a:xfrm>
            <a:off x="6230665" y="2587319"/>
            <a:ext cx="1514838" cy="545643"/>
          </a:xfrm>
          <a:prstGeom prst="round2SameRect">
            <a:avLst>
              <a:gd name="adj1" fmla="val 19792"/>
              <a:gd name="adj2" fmla="val 0"/>
            </a:avLst>
          </a:prstGeom>
          <a:solidFill>
            <a:srgbClr val="3E4D6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en-US"/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2A9B9C33-FA40-B948-8ED5-4DEDB3BEB453}"/>
              </a:ext>
            </a:extLst>
          </p:cNvPr>
          <p:cNvSpPr/>
          <p:nvPr/>
        </p:nvSpPr>
        <p:spPr bwMode="auto">
          <a:xfrm>
            <a:off x="6230665" y="3162801"/>
            <a:ext cx="1514838" cy="545643"/>
          </a:xfrm>
          <a:prstGeom prst="rect">
            <a:avLst/>
          </a:prstGeom>
          <a:solidFill>
            <a:srgbClr val="ED7D3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en-US"/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AE4F47DB-3518-A54A-B201-C1754DE3F56C}"/>
              </a:ext>
            </a:extLst>
          </p:cNvPr>
          <p:cNvSpPr/>
          <p:nvPr/>
        </p:nvSpPr>
        <p:spPr bwMode="auto">
          <a:xfrm>
            <a:off x="6230665" y="3738283"/>
            <a:ext cx="1514838" cy="545643"/>
          </a:xfrm>
          <a:prstGeom prst="rect">
            <a:avLst/>
          </a:prstGeom>
          <a:solidFill>
            <a:srgbClr val="7C7B7D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en-US"/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B0625A4E-AF6F-C24B-8C4A-5AFD477EB151}"/>
              </a:ext>
            </a:extLst>
          </p:cNvPr>
          <p:cNvSpPr/>
          <p:nvPr/>
        </p:nvSpPr>
        <p:spPr bwMode="auto">
          <a:xfrm>
            <a:off x="6230665" y="4313765"/>
            <a:ext cx="1514838" cy="545643"/>
          </a:xfrm>
          <a:prstGeom prst="rect">
            <a:avLst/>
          </a:prstGeom>
          <a:solidFill>
            <a:srgbClr val="ED7D3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en-US"/>
          </a:p>
        </p:txBody>
      </p:sp>
      <p:sp>
        <p:nvSpPr>
          <p:cNvPr id="49" name="Round Same Side Corner Rectangle 48">
            <a:extLst>
              <a:ext uri="{FF2B5EF4-FFF2-40B4-BE49-F238E27FC236}">
                <a16:creationId xmlns:a16="http://schemas.microsoft.com/office/drawing/2014/main" id="{3E88DD0A-4CAA-534C-A3FE-1F777E117789}"/>
              </a:ext>
            </a:extLst>
          </p:cNvPr>
          <p:cNvSpPr/>
          <p:nvPr/>
        </p:nvSpPr>
        <p:spPr bwMode="auto">
          <a:xfrm rot="10800000">
            <a:off x="6230666" y="4889249"/>
            <a:ext cx="1514838" cy="545643"/>
          </a:xfrm>
          <a:prstGeom prst="round2SameRect">
            <a:avLst>
              <a:gd name="adj1" fmla="val 19792"/>
              <a:gd name="adj2" fmla="val 0"/>
            </a:avLst>
          </a:prstGeom>
          <a:solidFill>
            <a:srgbClr val="3E4D6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en-US"/>
          </a:p>
        </p:txBody>
      </p:sp>
      <p:grpSp>
        <p:nvGrpSpPr>
          <p:cNvPr id="50" name="Group 50">
            <a:extLst>
              <a:ext uri="{FF2B5EF4-FFF2-40B4-BE49-F238E27FC236}">
                <a16:creationId xmlns:a16="http://schemas.microsoft.com/office/drawing/2014/main" id="{B0433D8E-B0DF-FF45-AE8F-3887DF736421}"/>
              </a:ext>
            </a:extLst>
          </p:cNvPr>
          <p:cNvGrpSpPr/>
          <p:nvPr/>
        </p:nvGrpSpPr>
        <p:grpSpPr>
          <a:xfrm>
            <a:off x="2088718" y="3665931"/>
            <a:ext cx="618158" cy="618156"/>
            <a:chOff x="2477557" y="3537459"/>
            <a:chExt cx="835480" cy="835478"/>
          </a:xfrm>
        </p:grpSpPr>
        <p:grpSp>
          <p:nvGrpSpPr>
            <p:cNvPr id="51" name="Group 225">
              <a:extLst>
                <a:ext uri="{FF2B5EF4-FFF2-40B4-BE49-F238E27FC236}">
                  <a16:creationId xmlns:a16="http://schemas.microsoft.com/office/drawing/2014/main" id="{E6FF60E7-57B4-564D-A7B1-CE1F6C167EC4}"/>
                </a:ext>
              </a:extLst>
            </p:cNvPr>
            <p:cNvGrpSpPr/>
            <p:nvPr/>
          </p:nvGrpSpPr>
          <p:grpSpPr>
            <a:xfrm>
              <a:off x="2477556" y="3537461"/>
              <a:ext cx="835479" cy="835479"/>
              <a:chOff x="864537" y="1822859"/>
              <a:chExt cx="971309" cy="971307"/>
            </a:xfrm>
          </p:grpSpPr>
          <p:sp>
            <p:nvSpPr>
              <p:cNvPr id="53" name="Oval 52">
                <a:extLst>
                  <a:ext uri="{FF2B5EF4-FFF2-40B4-BE49-F238E27FC236}">
                    <a16:creationId xmlns:a16="http://schemas.microsoft.com/office/drawing/2014/main" id="{79A1E82A-1740-FC46-9FEB-095F9D75D2CD}"/>
                  </a:ext>
                </a:extLst>
              </p:cNvPr>
              <p:cNvSpPr/>
              <p:nvPr/>
            </p:nvSpPr>
            <p:spPr>
              <a:xfrm>
                <a:off x="932451" y="1890773"/>
                <a:ext cx="835480" cy="835478"/>
              </a:xfrm>
              <a:prstGeom prst="ellipse">
                <a:avLst/>
              </a:prstGeom>
              <a:solidFill>
                <a:srgbClr val="7C7B7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  <p:sp>
            <p:nvSpPr>
              <p:cNvPr id="54" name="Oval 53">
                <a:extLst>
                  <a:ext uri="{FF2B5EF4-FFF2-40B4-BE49-F238E27FC236}">
                    <a16:creationId xmlns:a16="http://schemas.microsoft.com/office/drawing/2014/main" id="{68B028DC-9D27-BD4C-BE9B-B5E61FA04075}"/>
                  </a:ext>
                </a:extLst>
              </p:cNvPr>
              <p:cNvSpPr/>
              <p:nvPr/>
            </p:nvSpPr>
            <p:spPr>
              <a:xfrm>
                <a:off x="864537" y="1822859"/>
                <a:ext cx="971309" cy="971307"/>
              </a:xfrm>
              <a:prstGeom prst="ellipse">
                <a:avLst/>
              </a:prstGeom>
              <a:noFill/>
              <a:ln w="19050">
                <a:solidFill>
                  <a:srgbClr val="7C7B7D"/>
                </a:solidFill>
                <a:prstDash val="sysDot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/>
              </a:p>
            </p:txBody>
          </p:sp>
        </p:grpSp>
        <p:sp>
          <p:nvSpPr>
            <p:cNvPr id="52" name="Freeform 51">
              <a:extLst>
                <a:ext uri="{FF2B5EF4-FFF2-40B4-BE49-F238E27FC236}">
                  <a16:creationId xmlns:a16="http://schemas.microsoft.com/office/drawing/2014/main" id="{53CCB56C-23AC-FD43-BB8C-F96ACF7881C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01961" y="3747196"/>
              <a:ext cx="386672" cy="416004"/>
            </a:xfrm>
            <a:custGeom>
              <a:avLst/>
              <a:gdLst/>
              <a:ahLst/>
              <a:cxnLst>
                <a:cxn ang="0">
                  <a:pos x="67" y="67"/>
                </a:cxn>
                <a:cxn ang="0">
                  <a:pos x="61" y="72"/>
                </a:cxn>
                <a:cxn ang="0">
                  <a:pos x="5" y="72"/>
                </a:cxn>
                <a:cxn ang="0">
                  <a:pos x="0" y="67"/>
                </a:cxn>
                <a:cxn ang="0">
                  <a:pos x="0" y="16"/>
                </a:cxn>
                <a:cxn ang="0">
                  <a:pos x="5" y="11"/>
                </a:cxn>
                <a:cxn ang="0">
                  <a:pos x="10" y="11"/>
                </a:cxn>
                <a:cxn ang="0">
                  <a:pos x="10" y="7"/>
                </a:cxn>
                <a:cxn ang="0">
                  <a:pos x="16" y="0"/>
                </a:cxn>
                <a:cxn ang="0">
                  <a:pos x="19" y="0"/>
                </a:cxn>
                <a:cxn ang="0">
                  <a:pos x="25" y="7"/>
                </a:cxn>
                <a:cxn ang="0">
                  <a:pos x="25" y="11"/>
                </a:cxn>
                <a:cxn ang="0">
                  <a:pos x="41" y="11"/>
                </a:cxn>
                <a:cxn ang="0">
                  <a:pos x="41" y="7"/>
                </a:cxn>
                <a:cxn ang="0">
                  <a:pos x="47" y="0"/>
                </a:cxn>
                <a:cxn ang="0">
                  <a:pos x="50" y="0"/>
                </a:cxn>
                <a:cxn ang="0">
                  <a:pos x="56" y="7"/>
                </a:cxn>
                <a:cxn ang="0">
                  <a:pos x="56" y="11"/>
                </a:cxn>
                <a:cxn ang="0">
                  <a:pos x="61" y="11"/>
                </a:cxn>
                <a:cxn ang="0">
                  <a:pos x="67" y="16"/>
                </a:cxn>
                <a:cxn ang="0">
                  <a:pos x="67" y="67"/>
                </a:cxn>
                <a:cxn ang="0">
                  <a:pos x="61" y="67"/>
                </a:cxn>
                <a:cxn ang="0">
                  <a:pos x="61" y="26"/>
                </a:cxn>
                <a:cxn ang="0">
                  <a:pos x="5" y="26"/>
                </a:cxn>
                <a:cxn ang="0">
                  <a:pos x="5" y="67"/>
                </a:cxn>
                <a:cxn ang="0">
                  <a:pos x="61" y="67"/>
                </a:cxn>
                <a:cxn ang="0">
                  <a:pos x="20" y="7"/>
                </a:cxn>
                <a:cxn ang="0">
                  <a:pos x="19" y="5"/>
                </a:cxn>
                <a:cxn ang="0">
                  <a:pos x="16" y="5"/>
                </a:cxn>
                <a:cxn ang="0">
                  <a:pos x="15" y="7"/>
                </a:cxn>
                <a:cxn ang="0">
                  <a:pos x="15" y="18"/>
                </a:cxn>
                <a:cxn ang="0">
                  <a:pos x="16" y="20"/>
                </a:cxn>
                <a:cxn ang="0">
                  <a:pos x="19" y="20"/>
                </a:cxn>
                <a:cxn ang="0">
                  <a:pos x="20" y="18"/>
                </a:cxn>
                <a:cxn ang="0">
                  <a:pos x="20" y="7"/>
                </a:cxn>
                <a:cxn ang="0">
                  <a:pos x="51" y="7"/>
                </a:cxn>
                <a:cxn ang="0">
                  <a:pos x="50" y="5"/>
                </a:cxn>
                <a:cxn ang="0">
                  <a:pos x="47" y="5"/>
                </a:cxn>
                <a:cxn ang="0">
                  <a:pos x="46" y="7"/>
                </a:cxn>
                <a:cxn ang="0">
                  <a:pos x="46" y="18"/>
                </a:cxn>
                <a:cxn ang="0">
                  <a:pos x="47" y="20"/>
                </a:cxn>
                <a:cxn ang="0">
                  <a:pos x="50" y="20"/>
                </a:cxn>
                <a:cxn ang="0">
                  <a:pos x="51" y="18"/>
                </a:cxn>
                <a:cxn ang="0">
                  <a:pos x="51" y="7"/>
                </a:cxn>
              </a:cxnLst>
              <a:rect l="0" t="0" r="r" b="b"/>
              <a:pathLst>
                <a:path w="67" h="72">
                  <a:moveTo>
                    <a:pt x="67" y="67"/>
                  </a:moveTo>
                  <a:cubicBezTo>
                    <a:pt x="67" y="70"/>
                    <a:pt x="64" y="72"/>
                    <a:pt x="61" y="72"/>
                  </a:cubicBezTo>
                  <a:cubicBezTo>
                    <a:pt x="5" y="72"/>
                    <a:pt x="5" y="72"/>
                    <a:pt x="5" y="72"/>
                  </a:cubicBezTo>
                  <a:cubicBezTo>
                    <a:pt x="2" y="72"/>
                    <a:pt x="0" y="70"/>
                    <a:pt x="0" y="67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13"/>
                    <a:pt x="2" y="11"/>
                    <a:pt x="5" y="11"/>
                  </a:cubicBezTo>
                  <a:cubicBezTo>
                    <a:pt x="10" y="11"/>
                    <a:pt x="10" y="11"/>
                    <a:pt x="10" y="11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10" y="3"/>
                    <a:pt x="13" y="0"/>
                    <a:pt x="16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23" y="0"/>
                    <a:pt x="25" y="3"/>
                    <a:pt x="25" y="7"/>
                  </a:cubicBezTo>
                  <a:cubicBezTo>
                    <a:pt x="25" y="11"/>
                    <a:pt x="25" y="11"/>
                    <a:pt x="25" y="11"/>
                  </a:cubicBezTo>
                  <a:cubicBezTo>
                    <a:pt x="41" y="11"/>
                    <a:pt x="41" y="11"/>
                    <a:pt x="41" y="11"/>
                  </a:cubicBezTo>
                  <a:cubicBezTo>
                    <a:pt x="41" y="7"/>
                    <a:pt x="41" y="7"/>
                    <a:pt x="41" y="7"/>
                  </a:cubicBezTo>
                  <a:cubicBezTo>
                    <a:pt x="41" y="3"/>
                    <a:pt x="44" y="0"/>
                    <a:pt x="47" y="0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53" y="0"/>
                    <a:pt x="56" y="3"/>
                    <a:pt x="56" y="7"/>
                  </a:cubicBezTo>
                  <a:cubicBezTo>
                    <a:pt x="56" y="11"/>
                    <a:pt x="56" y="11"/>
                    <a:pt x="56" y="11"/>
                  </a:cubicBezTo>
                  <a:cubicBezTo>
                    <a:pt x="61" y="11"/>
                    <a:pt x="61" y="11"/>
                    <a:pt x="61" y="11"/>
                  </a:cubicBezTo>
                  <a:cubicBezTo>
                    <a:pt x="64" y="11"/>
                    <a:pt x="67" y="13"/>
                    <a:pt x="67" y="16"/>
                  </a:cubicBezTo>
                  <a:lnTo>
                    <a:pt x="67" y="67"/>
                  </a:lnTo>
                  <a:close/>
                  <a:moveTo>
                    <a:pt x="61" y="67"/>
                  </a:moveTo>
                  <a:cubicBezTo>
                    <a:pt x="61" y="26"/>
                    <a:pt x="61" y="26"/>
                    <a:pt x="61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67"/>
                    <a:pt x="5" y="67"/>
                    <a:pt x="5" y="67"/>
                  </a:cubicBezTo>
                  <a:lnTo>
                    <a:pt x="61" y="67"/>
                  </a:lnTo>
                  <a:close/>
                  <a:moveTo>
                    <a:pt x="20" y="7"/>
                  </a:moveTo>
                  <a:cubicBezTo>
                    <a:pt x="20" y="6"/>
                    <a:pt x="20" y="5"/>
                    <a:pt x="19" y="5"/>
                  </a:cubicBezTo>
                  <a:cubicBezTo>
                    <a:pt x="16" y="5"/>
                    <a:pt x="16" y="5"/>
                    <a:pt x="16" y="5"/>
                  </a:cubicBezTo>
                  <a:cubicBezTo>
                    <a:pt x="16" y="5"/>
                    <a:pt x="15" y="6"/>
                    <a:pt x="15" y="7"/>
                  </a:cubicBezTo>
                  <a:cubicBezTo>
                    <a:pt x="15" y="18"/>
                    <a:pt x="15" y="18"/>
                    <a:pt x="15" y="18"/>
                  </a:cubicBezTo>
                  <a:cubicBezTo>
                    <a:pt x="15" y="19"/>
                    <a:pt x="16" y="20"/>
                    <a:pt x="16" y="20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0" y="20"/>
                    <a:pt x="20" y="19"/>
                    <a:pt x="20" y="18"/>
                  </a:cubicBezTo>
                  <a:lnTo>
                    <a:pt x="20" y="7"/>
                  </a:lnTo>
                  <a:close/>
                  <a:moveTo>
                    <a:pt x="51" y="7"/>
                  </a:moveTo>
                  <a:cubicBezTo>
                    <a:pt x="51" y="6"/>
                    <a:pt x="51" y="5"/>
                    <a:pt x="50" y="5"/>
                  </a:cubicBezTo>
                  <a:cubicBezTo>
                    <a:pt x="47" y="5"/>
                    <a:pt x="47" y="5"/>
                    <a:pt x="47" y="5"/>
                  </a:cubicBezTo>
                  <a:cubicBezTo>
                    <a:pt x="47" y="5"/>
                    <a:pt x="46" y="6"/>
                    <a:pt x="46" y="7"/>
                  </a:cubicBezTo>
                  <a:cubicBezTo>
                    <a:pt x="46" y="18"/>
                    <a:pt x="46" y="18"/>
                    <a:pt x="46" y="18"/>
                  </a:cubicBezTo>
                  <a:cubicBezTo>
                    <a:pt x="46" y="19"/>
                    <a:pt x="47" y="20"/>
                    <a:pt x="47" y="20"/>
                  </a:cubicBezTo>
                  <a:cubicBezTo>
                    <a:pt x="50" y="20"/>
                    <a:pt x="50" y="20"/>
                    <a:pt x="50" y="20"/>
                  </a:cubicBezTo>
                  <a:cubicBezTo>
                    <a:pt x="51" y="20"/>
                    <a:pt x="51" y="19"/>
                    <a:pt x="51" y="18"/>
                  </a:cubicBezTo>
                  <a:lnTo>
                    <a:pt x="51" y="7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5" name="Group 55">
            <a:extLst>
              <a:ext uri="{FF2B5EF4-FFF2-40B4-BE49-F238E27FC236}">
                <a16:creationId xmlns:a16="http://schemas.microsoft.com/office/drawing/2014/main" id="{EEFA0554-DDC4-AA4F-9B61-29F20293589F}"/>
              </a:ext>
            </a:extLst>
          </p:cNvPr>
          <p:cNvGrpSpPr/>
          <p:nvPr/>
        </p:nvGrpSpPr>
        <p:grpSpPr>
          <a:xfrm>
            <a:off x="2131940" y="2271871"/>
            <a:ext cx="531713" cy="531713"/>
            <a:chOff x="1240878" y="2145877"/>
            <a:chExt cx="718644" cy="718645"/>
          </a:xfrm>
        </p:grpSpPr>
        <p:sp>
          <p:nvSpPr>
            <p:cNvPr id="56" name="Oval 55">
              <a:extLst>
                <a:ext uri="{FF2B5EF4-FFF2-40B4-BE49-F238E27FC236}">
                  <a16:creationId xmlns:a16="http://schemas.microsoft.com/office/drawing/2014/main" id="{26485EEA-9C07-BD42-90F2-91EE6D1F0C56}"/>
                </a:ext>
              </a:extLst>
            </p:cNvPr>
            <p:cNvSpPr/>
            <p:nvPr/>
          </p:nvSpPr>
          <p:spPr>
            <a:xfrm>
              <a:off x="1240878" y="2145877"/>
              <a:ext cx="718644" cy="718645"/>
            </a:xfrm>
            <a:prstGeom prst="ellipse">
              <a:avLst/>
            </a:prstGeom>
            <a:solidFill>
              <a:srgbClr val="3E4D6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/>
            </a:p>
          </p:txBody>
        </p:sp>
        <p:sp>
          <p:nvSpPr>
            <p:cNvPr id="57" name="Freeform 42">
              <a:extLst>
                <a:ext uri="{FF2B5EF4-FFF2-40B4-BE49-F238E27FC236}">
                  <a16:creationId xmlns:a16="http://schemas.microsoft.com/office/drawing/2014/main" id="{99A051EB-F1B9-584D-BCC2-52D0545C756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389532" y="2323861"/>
              <a:ext cx="421340" cy="362672"/>
            </a:xfrm>
            <a:custGeom>
              <a:avLst/>
              <a:gdLst/>
              <a:ahLst/>
              <a:cxnLst>
                <a:cxn ang="0">
                  <a:pos x="73" y="47"/>
                </a:cxn>
                <a:cxn ang="0">
                  <a:pos x="67" y="53"/>
                </a:cxn>
                <a:cxn ang="0">
                  <a:pos x="46" y="53"/>
                </a:cxn>
                <a:cxn ang="0">
                  <a:pos x="48" y="60"/>
                </a:cxn>
                <a:cxn ang="0">
                  <a:pos x="46" y="63"/>
                </a:cxn>
                <a:cxn ang="0">
                  <a:pos x="26" y="63"/>
                </a:cxn>
                <a:cxn ang="0">
                  <a:pos x="24" y="60"/>
                </a:cxn>
                <a:cxn ang="0">
                  <a:pos x="26" y="53"/>
                </a:cxn>
                <a:cxn ang="0">
                  <a:pos x="6" y="53"/>
                </a:cxn>
                <a:cxn ang="0">
                  <a:pos x="0" y="47"/>
                </a:cxn>
                <a:cxn ang="0">
                  <a:pos x="0" y="6"/>
                </a:cxn>
                <a:cxn ang="0">
                  <a:pos x="6" y="0"/>
                </a:cxn>
                <a:cxn ang="0">
                  <a:pos x="67" y="0"/>
                </a:cxn>
                <a:cxn ang="0">
                  <a:pos x="73" y="6"/>
                </a:cxn>
                <a:cxn ang="0">
                  <a:pos x="73" y="47"/>
                </a:cxn>
                <a:cxn ang="0">
                  <a:pos x="68" y="6"/>
                </a:cxn>
                <a:cxn ang="0">
                  <a:pos x="67" y="5"/>
                </a:cxn>
                <a:cxn ang="0">
                  <a:pos x="6" y="5"/>
                </a:cxn>
                <a:cxn ang="0">
                  <a:pos x="5" y="6"/>
                </a:cxn>
                <a:cxn ang="0">
                  <a:pos x="5" y="37"/>
                </a:cxn>
                <a:cxn ang="0">
                  <a:pos x="6" y="39"/>
                </a:cxn>
                <a:cxn ang="0">
                  <a:pos x="67" y="39"/>
                </a:cxn>
                <a:cxn ang="0">
                  <a:pos x="68" y="37"/>
                </a:cxn>
                <a:cxn ang="0">
                  <a:pos x="68" y="6"/>
                </a:cxn>
              </a:cxnLst>
              <a:rect l="0" t="0" r="r" b="b"/>
              <a:pathLst>
                <a:path w="73" h="63">
                  <a:moveTo>
                    <a:pt x="73" y="47"/>
                  </a:moveTo>
                  <a:cubicBezTo>
                    <a:pt x="73" y="50"/>
                    <a:pt x="70" y="53"/>
                    <a:pt x="67" y="53"/>
                  </a:cubicBezTo>
                  <a:cubicBezTo>
                    <a:pt x="46" y="53"/>
                    <a:pt x="46" y="53"/>
                    <a:pt x="46" y="53"/>
                  </a:cubicBezTo>
                  <a:cubicBezTo>
                    <a:pt x="46" y="56"/>
                    <a:pt x="48" y="59"/>
                    <a:pt x="48" y="60"/>
                  </a:cubicBezTo>
                  <a:cubicBezTo>
                    <a:pt x="48" y="62"/>
                    <a:pt x="47" y="63"/>
                    <a:pt x="46" y="63"/>
                  </a:cubicBezTo>
                  <a:cubicBezTo>
                    <a:pt x="26" y="63"/>
                    <a:pt x="26" y="63"/>
                    <a:pt x="26" y="63"/>
                  </a:cubicBezTo>
                  <a:cubicBezTo>
                    <a:pt x="25" y="63"/>
                    <a:pt x="24" y="62"/>
                    <a:pt x="24" y="60"/>
                  </a:cubicBezTo>
                  <a:cubicBezTo>
                    <a:pt x="24" y="59"/>
                    <a:pt x="26" y="56"/>
                    <a:pt x="26" y="53"/>
                  </a:cubicBezTo>
                  <a:cubicBezTo>
                    <a:pt x="6" y="53"/>
                    <a:pt x="6" y="53"/>
                    <a:pt x="6" y="53"/>
                  </a:cubicBezTo>
                  <a:cubicBezTo>
                    <a:pt x="2" y="53"/>
                    <a:pt x="0" y="50"/>
                    <a:pt x="0" y="47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2"/>
                    <a:pt x="2" y="0"/>
                    <a:pt x="6" y="0"/>
                  </a:cubicBezTo>
                  <a:cubicBezTo>
                    <a:pt x="67" y="0"/>
                    <a:pt x="67" y="0"/>
                    <a:pt x="67" y="0"/>
                  </a:cubicBezTo>
                  <a:cubicBezTo>
                    <a:pt x="70" y="0"/>
                    <a:pt x="73" y="2"/>
                    <a:pt x="73" y="6"/>
                  </a:cubicBezTo>
                  <a:lnTo>
                    <a:pt x="73" y="47"/>
                  </a:lnTo>
                  <a:close/>
                  <a:moveTo>
                    <a:pt x="68" y="6"/>
                  </a:moveTo>
                  <a:cubicBezTo>
                    <a:pt x="68" y="5"/>
                    <a:pt x="67" y="5"/>
                    <a:pt x="67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5" y="5"/>
                    <a:pt x="5" y="5"/>
                    <a:pt x="5" y="6"/>
                  </a:cubicBezTo>
                  <a:cubicBezTo>
                    <a:pt x="5" y="37"/>
                    <a:pt x="5" y="37"/>
                    <a:pt x="5" y="37"/>
                  </a:cubicBezTo>
                  <a:cubicBezTo>
                    <a:pt x="5" y="38"/>
                    <a:pt x="5" y="39"/>
                    <a:pt x="6" y="39"/>
                  </a:cubicBezTo>
                  <a:cubicBezTo>
                    <a:pt x="67" y="39"/>
                    <a:pt x="67" y="39"/>
                    <a:pt x="67" y="39"/>
                  </a:cubicBezTo>
                  <a:cubicBezTo>
                    <a:pt x="67" y="39"/>
                    <a:pt x="68" y="38"/>
                    <a:pt x="68" y="37"/>
                  </a:cubicBezTo>
                  <a:lnTo>
                    <a:pt x="68" y="6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8" name="Group 60">
            <a:extLst>
              <a:ext uri="{FF2B5EF4-FFF2-40B4-BE49-F238E27FC236}">
                <a16:creationId xmlns:a16="http://schemas.microsoft.com/office/drawing/2014/main" id="{AB7032E2-0EBF-014D-BD41-0C62D93379F1}"/>
              </a:ext>
            </a:extLst>
          </p:cNvPr>
          <p:cNvGrpSpPr/>
          <p:nvPr/>
        </p:nvGrpSpPr>
        <p:grpSpPr>
          <a:xfrm>
            <a:off x="2088718" y="4384572"/>
            <a:ext cx="618158" cy="618156"/>
            <a:chOff x="5811502" y="3537459"/>
            <a:chExt cx="835480" cy="835478"/>
          </a:xfrm>
        </p:grpSpPr>
        <p:grpSp>
          <p:nvGrpSpPr>
            <p:cNvPr id="59" name="Group 225">
              <a:extLst>
                <a:ext uri="{FF2B5EF4-FFF2-40B4-BE49-F238E27FC236}">
                  <a16:creationId xmlns:a16="http://schemas.microsoft.com/office/drawing/2014/main" id="{825027DE-9D7C-E843-B5D2-D827C2E15361}"/>
                </a:ext>
              </a:extLst>
            </p:cNvPr>
            <p:cNvGrpSpPr/>
            <p:nvPr/>
          </p:nvGrpSpPr>
          <p:grpSpPr>
            <a:xfrm>
              <a:off x="5811501" y="3537461"/>
              <a:ext cx="835479" cy="835479"/>
              <a:chOff x="864537" y="1822859"/>
              <a:chExt cx="971309" cy="971307"/>
            </a:xfrm>
          </p:grpSpPr>
          <p:sp>
            <p:nvSpPr>
              <p:cNvPr id="61" name="Oval 60">
                <a:extLst>
                  <a:ext uri="{FF2B5EF4-FFF2-40B4-BE49-F238E27FC236}">
                    <a16:creationId xmlns:a16="http://schemas.microsoft.com/office/drawing/2014/main" id="{1969F2DB-98E0-1646-881E-5E37E9241E3D}"/>
                  </a:ext>
                </a:extLst>
              </p:cNvPr>
              <p:cNvSpPr/>
              <p:nvPr/>
            </p:nvSpPr>
            <p:spPr>
              <a:xfrm>
                <a:off x="932451" y="1890773"/>
                <a:ext cx="835480" cy="835478"/>
              </a:xfrm>
              <a:prstGeom prst="ellipse">
                <a:avLst/>
              </a:prstGeom>
              <a:solidFill>
                <a:srgbClr val="ED7D3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/>
              </a:p>
            </p:txBody>
          </p:sp>
          <p:sp>
            <p:nvSpPr>
              <p:cNvPr id="62" name="Oval 61">
                <a:extLst>
                  <a:ext uri="{FF2B5EF4-FFF2-40B4-BE49-F238E27FC236}">
                    <a16:creationId xmlns:a16="http://schemas.microsoft.com/office/drawing/2014/main" id="{3DFB38ED-0142-6242-B38D-8FE717B6E435}"/>
                  </a:ext>
                </a:extLst>
              </p:cNvPr>
              <p:cNvSpPr/>
              <p:nvPr/>
            </p:nvSpPr>
            <p:spPr>
              <a:xfrm>
                <a:off x="864537" y="1822859"/>
                <a:ext cx="971309" cy="971307"/>
              </a:xfrm>
              <a:prstGeom prst="ellipse">
                <a:avLst/>
              </a:prstGeom>
              <a:noFill/>
              <a:ln w="19050">
                <a:solidFill>
                  <a:srgbClr val="ED7D31"/>
                </a:solidFill>
                <a:prstDash val="sysDot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/>
              </a:p>
            </p:txBody>
          </p:sp>
        </p:grpSp>
        <p:sp>
          <p:nvSpPr>
            <p:cNvPr id="60" name="Freeform 86">
              <a:extLst>
                <a:ext uri="{FF2B5EF4-FFF2-40B4-BE49-F238E27FC236}">
                  <a16:creationId xmlns:a16="http://schemas.microsoft.com/office/drawing/2014/main" id="{5F77D977-DF80-A347-87BE-F477944B8A4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84972" y="3712460"/>
              <a:ext cx="288540" cy="485476"/>
            </a:xfrm>
            <a:custGeom>
              <a:avLst/>
              <a:gdLst/>
              <a:ahLst/>
              <a:cxnLst>
                <a:cxn ang="0">
                  <a:pos x="29" y="44"/>
                </a:cxn>
                <a:cxn ang="0">
                  <a:pos x="24" y="49"/>
                </a:cxn>
                <a:cxn ang="0">
                  <a:pos x="5" y="49"/>
                </a:cxn>
                <a:cxn ang="0">
                  <a:pos x="0" y="44"/>
                </a:cxn>
                <a:cxn ang="0">
                  <a:pos x="0" y="5"/>
                </a:cxn>
                <a:cxn ang="0">
                  <a:pos x="5" y="0"/>
                </a:cxn>
                <a:cxn ang="0">
                  <a:pos x="24" y="0"/>
                </a:cxn>
                <a:cxn ang="0">
                  <a:pos x="29" y="5"/>
                </a:cxn>
                <a:cxn ang="0">
                  <a:pos x="29" y="44"/>
                </a:cxn>
                <a:cxn ang="0">
                  <a:pos x="25" y="11"/>
                </a:cxn>
                <a:cxn ang="0">
                  <a:pos x="24" y="10"/>
                </a:cxn>
                <a:cxn ang="0">
                  <a:pos x="5" y="10"/>
                </a:cxn>
                <a:cxn ang="0">
                  <a:pos x="3" y="11"/>
                </a:cxn>
                <a:cxn ang="0">
                  <a:pos x="3" y="38"/>
                </a:cxn>
                <a:cxn ang="0">
                  <a:pos x="5" y="39"/>
                </a:cxn>
                <a:cxn ang="0">
                  <a:pos x="24" y="39"/>
                </a:cxn>
                <a:cxn ang="0">
                  <a:pos x="25" y="38"/>
                </a:cxn>
                <a:cxn ang="0">
                  <a:pos x="25" y="11"/>
                </a:cxn>
                <a:cxn ang="0">
                  <a:pos x="17" y="5"/>
                </a:cxn>
                <a:cxn ang="0">
                  <a:pos x="11" y="5"/>
                </a:cxn>
                <a:cxn ang="0">
                  <a:pos x="11" y="6"/>
                </a:cxn>
                <a:cxn ang="0">
                  <a:pos x="11" y="6"/>
                </a:cxn>
                <a:cxn ang="0">
                  <a:pos x="17" y="6"/>
                </a:cxn>
                <a:cxn ang="0">
                  <a:pos x="18" y="6"/>
                </a:cxn>
                <a:cxn ang="0">
                  <a:pos x="17" y="5"/>
                </a:cxn>
                <a:cxn ang="0">
                  <a:pos x="14" y="41"/>
                </a:cxn>
                <a:cxn ang="0">
                  <a:pos x="11" y="44"/>
                </a:cxn>
                <a:cxn ang="0">
                  <a:pos x="14" y="47"/>
                </a:cxn>
                <a:cxn ang="0">
                  <a:pos x="17" y="44"/>
                </a:cxn>
                <a:cxn ang="0">
                  <a:pos x="14" y="41"/>
                </a:cxn>
              </a:cxnLst>
              <a:rect l="0" t="0" r="r" b="b"/>
              <a:pathLst>
                <a:path w="29" h="49">
                  <a:moveTo>
                    <a:pt x="29" y="44"/>
                  </a:moveTo>
                  <a:cubicBezTo>
                    <a:pt x="29" y="47"/>
                    <a:pt x="27" y="49"/>
                    <a:pt x="24" y="49"/>
                  </a:cubicBezTo>
                  <a:cubicBezTo>
                    <a:pt x="5" y="49"/>
                    <a:pt x="5" y="49"/>
                    <a:pt x="5" y="49"/>
                  </a:cubicBezTo>
                  <a:cubicBezTo>
                    <a:pt x="2" y="49"/>
                    <a:pt x="0" y="47"/>
                    <a:pt x="0" y="44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3"/>
                    <a:pt x="2" y="0"/>
                    <a:pt x="5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7" y="0"/>
                    <a:pt x="29" y="3"/>
                    <a:pt x="29" y="5"/>
                  </a:cubicBezTo>
                  <a:lnTo>
                    <a:pt x="29" y="44"/>
                  </a:lnTo>
                  <a:close/>
                  <a:moveTo>
                    <a:pt x="25" y="11"/>
                  </a:moveTo>
                  <a:cubicBezTo>
                    <a:pt x="25" y="11"/>
                    <a:pt x="25" y="10"/>
                    <a:pt x="24" y="10"/>
                  </a:cubicBezTo>
                  <a:cubicBezTo>
                    <a:pt x="5" y="10"/>
                    <a:pt x="5" y="10"/>
                    <a:pt x="5" y="10"/>
                  </a:cubicBezTo>
                  <a:cubicBezTo>
                    <a:pt x="4" y="10"/>
                    <a:pt x="3" y="11"/>
                    <a:pt x="3" y="11"/>
                  </a:cubicBezTo>
                  <a:cubicBezTo>
                    <a:pt x="3" y="38"/>
                    <a:pt x="3" y="38"/>
                    <a:pt x="3" y="38"/>
                  </a:cubicBezTo>
                  <a:cubicBezTo>
                    <a:pt x="3" y="39"/>
                    <a:pt x="4" y="39"/>
                    <a:pt x="5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5" y="39"/>
                    <a:pt x="25" y="39"/>
                    <a:pt x="25" y="38"/>
                  </a:cubicBezTo>
                  <a:lnTo>
                    <a:pt x="25" y="11"/>
                  </a:lnTo>
                  <a:close/>
                  <a:moveTo>
                    <a:pt x="17" y="5"/>
                  </a:moveTo>
                  <a:cubicBezTo>
                    <a:pt x="11" y="5"/>
                    <a:pt x="11" y="5"/>
                    <a:pt x="11" y="5"/>
                  </a:cubicBezTo>
                  <a:cubicBezTo>
                    <a:pt x="11" y="5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7" y="6"/>
                    <a:pt x="17" y="6"/>
                    <a:pt x="17" y="6"/>
                  </a:cubicBezTo>
                  <a:cubicBezTo>
                    <a:pt x="18" y="6"/>
                    <a:pt x="18" y="6"/>
                    <a:pt x="18" y="6"/>
                  </a:cubicBezTo>
                  <a:cubicBezTo>
                    <a:pt x="18" y="6"/>
                    <a:pt x="18" y="5"/>
                    <a:pt x="17" y="5"/>
                  </a:cubicBezTo>
                  <a:close/>
                  <a:moveTo>
                    <a:pt x="14" y="41"/>
                  </a:moveTo>
                  <a:cubicBezTo>
                    <a:pt x="13" y="41"/>
                    <a:pt x="11" y="42"/>
                    <a:pt x="11" y="44"/>
                  </a:cubicBezTo>
                  <a:cubicBezTo>
                    <a:pt x="11" y="46"/>
                    <a:pt x="13" y="47"/>
                    <a:pt x="14" y="47"/>
                  </a:cubicBezTo>
                  <a:cubicBezTo>
                    <a:pt x="16" y="47"/>
                    <a:pt x="17" y="46"/>
                    <a:pt x="17" y="44"/>
                  </a:cubicBezTo>
                  <a:cubicBezTo>
                    <a:pt x="17" y="42"/>
                    <a:pt x="16" y="41"/>
                    <a:pt x="14" y="41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63" name="Group 66">
            <a:extLst>
              <a:ext uri="{FF2B5EF4-FFF2-40B4-BE49-F238E27FC236}">
                <a16:creationId xmlns:a16="http://schemas.microsoft.com/office/drawing/2014/main" id="{22F93E51-F88D-3C43-A02F-44628335523B}"/>
              </a:ext>
            </a:extLst>
          </p:cNvPr>
          <p:cNvGrpSpPr/>
          <p:nvPr/>
        </p:nvGrpSpPr>
        <p:grpSpPr>
          <a:xfrm>
            <a:off x="2088718" y="2947290"/>
            <a:ext cx="618158" cy="618156"/>
            <a:chOff x="1810872" y="2768050"/>
            <a:chExt cx="835480" cy="835478"/>
          </a:xfrm>
        </p:grpSpPr>
        <p:grpSp>
          <p:nvGrpSpPr>
            <p:cNvPr id="64" name="Group 225">
              <a:extLst>
                <a:ext uri="{FF2B5EF4-FFF2-40B4-BE49-F238E27FC236}">
                  <a16:creationId xmlns:a16="http://schemas.microsoft.com/office/drawing/2014/main" id="{33AA8CEA-C0DF-8C4D-867D-1B4015B68B5C}"/>
                </a:ext>
              </a:extLst>
            </p:cNvPr>
            <p:cNvGrpSpPr/>
            <p:nvPr/>
          </p:nvGrpSpPr>
          <p:grpSpPr>
            <a:xfrm>
              <a:off x="1810871" y="2768052"/>
              <a:ext cx="835479" cy="835479"/>
              <a:chOff x="864537" y="1822859"/>
              <a:chExt cx="971309" cy="971307"/>
            </a:xfrm>
          </p:grpSpPr>
          <p:sp>
            <p:nvSpPr>
              <p:cNvPr id="66" name="Oval 65">
                <a:extLst>
                  <a:ext uri="{FF2B5EF4-FFF2-40B4-BE49-F238E27FC236}">
                    <a16:creationId xmlns:a16="http://schemas.microsoft.com/office/drawing/2014/main" id="{CE3D3141-9431-424A-9528-0AC8063C7132}"/>
                  </a:ext>
                </a:extLst>
              </p:cNvPr>
              <p:cNvSpPr/>
              <p:nvPr/>
            </p:nvSpPr>
            <p:spPr>
              <a:xfrm>
                <a:off x="932451" y="1890773"/>
                <a:ext cx="835480" cy="835478"/>
              </a:xfrm>
              <a:prstGeom prst="ellipse">
                <a:avLst/>
              </a:prstGeom>
              <a:solidFill>
                <a:srgbClr val="ED7D3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  <p:sp>
            <p:nvSpPr>
              <p:cNvPr id="67" name="Oval 66">
                <a:extLst>
                  <a:ext uri="{FF2B5EF4-FFF2-40B4-BE49-F238E27FC236}">
                    <a16:creationId xmlns:a16="http://schemas.microsoft.com/office/drawing/2014/main" id="{8491E0F5-AE62-7F4B-A8A0-C4EA60F00939}"/>
                  </a:ext>
                </a:extLst>
              </p:cNvPr>
              <p:cNvSpPr/>
              <p:nvPr/>
            </p:nvSpPr>
            <p:spPr>
              <a:xfrm>
                <a:off x="864537" y="1822859"/>
                <a:ext cx="971309" cy="971307"/>
              </a:xfrm>
              <a:prstGeom prst="ellipse">
                <a:avLst/>
              </a:prstGeom>
              <a:noFill/>
              <a:ln w="19050">
                <a:solidFill>
                  <a:srgbClr val="ED7D31"/>
                </a:solidFill>
                <a:prstDash val="sysDot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sp>
          <p:nvSpPr>
            <p:cNvPr id="65" name="Freeform 178">
              <a:extLst>
                <a:ext uri="{FF2B5EF4-FFF2-40B4-BE49-F238E27FC236}">
                  <a16:creationId xmlns:a16="http://schemas.microsoft.com/office/drawing/2014/main" id="{2CDBC1BC-C6D2-5B44-9AFA-6EEB0374DC4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17942" y="3027121"/>
              <a:ext cx="421340" cy="317336"/>
            </a:xfrm>
            <a:custGeom>
              <a:avLst/>
              <a:gdLst/>
              <a:ahLst/>
              <a:cxnLst>
                <a:cxn ang="0">
                  <a:pos x="158" y="119"/>
                </a:cxn>
                <a:cxn ang="0">
                  <a:pos x="0" y="119"/>
                </a:cxn>
                <a:cxn ang="0">
                  <a:pos x="0" y="0"/>
                </a:cxn>
                <a:cxn ang="0">
                  <a:pos x="9" y="0"/>
                </a:cxn>
                <a:cxn ang="0">
                  <a:pos x="9" y="108"/>
                </a:cxn>
                <a:cxn ang="0">
                  <a:pos x="158" y="108"/>
                </a:cxn>
                <a:cxn ang="0">
                  <a:pos x="158" y="119"/>
                </a:cxn>
                <a:cxn ang="0">
                  <a:pos x="50" y="99"/>
                </a:cxn>
                <a:cxn ang="0">
                  <a:pos x="29" y="99"/>
                </a:cxn>
                <a:cxn ang="0">
                  <a:pos x="29" y="60"/>
                </a:cxn>
                <a:cxn ang="0">
                  <a:pos x="50" y="60"/>
                </a:cxn>
                <a:cxn ang="0">
                  <a:pos x="50" y="99"/>
                </a:cxn>
                <a:cxn ang="0">
                  <a:pos x="78" y="99"/>
                </a:cxn>
                <a:cxn ang="0">
                  <a:pos x="59" y="99"/>
                </a:cxn>
                <a:cxn ang="0">
                  <a:pos x="59" y="19"/>
                </a:cxn>
                <a:cxn ang="0">
                  <a:pos x="78" y="19"/>
                </a:cxn>
                <a:cxn ang="0">
                  <a:pos x="78" y="99"/>
                </a:cxn>
                <a:cxn ang="0">
                  <a:pos x="109" y="99"/>
                </a:cxn>
                <a:cxn ang="0">
                  <a:pos x="89" y="99"/>
                </a:cxn>
                <a:cxn ang="0">
                  <a:pos x="89" y="39"/>
                </a:cxn>
                <a:cxn ang="0">
                  <a:pos x="109" y="39"/>
                </a:cxn>
                <a:cxn ang="0">
                  <a:pos x="109" y="99"/>
                </a:cxn>
                <a:cxn ang="0">
                  <a:pos x="139" y="99"/>
                </a:cxn>
                <a:cxn ang="0">
                  <a:pos x="119" y="99"/>
                </a:cxn>
                <a:cxn ang="0">
                  <a:pos x="119" y="11"/>
                </a:cxn>
                <a:cxn ang="0">
                  <a:pos x="139" y="11"/>
                </a:cxn>
                <a:cxn ang="0">
                  <a:pos x="139" y="99"/>
                </a:cxn>
              </a:cxnLst>
              <a:rect l="0" t="0" r="r" b="b"/>
              <a:pathLst>
                <a:path w="158" h="119">
                  <a:moveTo>
                    <a:pt x="158" y="119"/>
                  </a:moveTo>
                  <a:lnTo>
                    <a:pt x="0" y="119"/>
                  </a:lnTo>
                  <a:lnTo>
                    <a:pt x="0" y="0"/>
                  </a:lnTo>
                  <a:lnTo>
                    <a:pt x="9" y="0"/>
                  </a:lnTo>
                  <a:lnTo>
                    <a:pt x="9" y="108"/>
                  </a:lnTo>
                  <a:lnTo>
                    <a:pt x="158" y="108"/>
                  </a:lnTo>
                  <a:lnTo>
                    <a:pt x="158" y="119"/>
                  </a:lnTo>
                  <a:close/>
                  <a:moveTo>
                    <a:pt x="50" y="99"/>
                  </a:moveTo>
                  <a:lnTo>
                    <a:pt x="29" y="99"/>
                  </a:lnTo>
                  <a:lnTo>
                    <a:pt x="29" y="60"/>
                  </a:lnTo>
                  <a:lnTo>
                    <a:pt x="50" y="60"/>
                  </a:lnTo>
                  <a:lnTo>
                    <a:pt x="50" y="99"/>
                  </a:lnTo>
                  <a:close/>
                  <a:moveTo>
                    <a:pt x="78" y="99"/>
                  </a:moveTo>
                  <a:lnTo>
                    <a:pt x="59" y="99"/>
                  </a:lnTo>
                  <a:lnTo>
                    <a:pt x="59" y="19"/>
                  </a:lnTo>
                  <a:lnTo>
                    <a:pt x="78" y="19"/>
                  </a:lnTo>
                  <a:lnTo>
                    <a:pt x="78" y="99"/>
                  </a:lnTo>
                  <a:close/>
                  <a:moveTo>
                    <a:pt x="109" y="99"/>
                  </a:moveTo>
                  <a:lnTo>
                    <a:pt x="89" y="99"/>
                  </a:lnTo>
                  <a:lnTo>
                    <a:pt x="89" y="39"/>
                  </a:lnTo>
                  <a:lnTo>
                    <a:pt x="109" y="39"/>
                  </a:lnTo>
                  <a:lnTo>
                    <a:pt x="109" y="99"/>
                  </a:lnTo>
                  <a:close/>
                  <a:moveTo>
                    <a:pt x="139" y="99"/>
                  </a:moveTo>
                  <a:lnTo>
                    <a:pt x="119" y="99"/>
                  </a:lnTo>
                  <a:lnTo>
                    <a:pt x="119" y="11"/>
                  </a:lnTo>
                  <a:lnTo>
                    <a:pt x="139" y="11"/>
                  </a:lnTo>
                  <a:lnTo>
                    <a:pt x="139" y="99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68" name="Group 71">
            <a:extLst>
              <a:ext uri="{FF2B5EF4-FFF2-40B4-BE49-F238E27FC236}">
                <a16:creationId xmlns:a16="http://schemas.microsoft.com/office/drawing/2014/main" id="{7B6FAF01-41A2-A740-8EC4-F5A79D3E8D47}"/>
              </a:ext>
            </a:extLst>
          </p:cNvPr>
          <p:cNvGrpSpPr/>
          <p:nvPr/>
        </p:nvGrpSpPr>
        <p:grpSpPr>
          <a:xfrm>
            <a:off x="2088718" y="5103214"/>
            <a:ext cx="618158" cy="618156"/>
            <a:chOff x="7133616" y="2087458"/>
            <a:chExt cx="835480" cy="835478"/>
          </a:xfrm>
        </p:grpSpPr>
        <p:grpSp>
          <p:nvGrpSpPr>
            <p:cNvPr id="69" name="Group 225">
              <a:extLst>
                <a:ext uri="{FF2B5EF4-FFF2-40B4-BE49-F238E27FC236}">
                  <a16:creationId xmlns:a16="http://schemas.microsoft.com/office/drawing/2014/main" id="{16940503-DD43-0B4F-8633-A975B568004C}"/>
                </a:ext>
              </a:extLst>
            </p:cNvPr>
            <p:cNvGrpSpPr/>
            <p:nvPr/>
          </p:nvGrpSpPr>
          <p:grpSpPr>
            <a:xfrm>
              <a:off x="7133615" y="2087460"/>
              <a:ext cx="835479" cy="835479"/>
              <a:chOff x="864537" y="1822859"/>
              <a:chExt cx="971309" cy="971307"/>
            </a:xfrm>
          </p:grpSpPr>
          <p:sp>
            <p:nvSpPr>
              <p:cNvPr id="71" name="Oval 70">
                <a:extLst>
                  <a:ext uri="{FF2B5EF4-FFF2-40B4-BE49-F238E27FC236}">
                    <a16:creationId xmlns:a16="http://schemas.microsoft.com/office/drawing/2014/main" id="{1FE6BC01-D12A-5145-82D6-55565A5C9C9A}"/>
                  </a:ext>
                </a:extLst>
              </p:cNvPr>
              <p:cNvSpPr/>
              <p:nvPr/>
            </p:nvSpPr>
            <p:spPr>
              <a:xfrm>
                <a:off x="932451" y="1890773"/>
                <a:ext cx="835480" cy="835478"/>
              </a:xfrm>
              <a:prstGeom prst="ellipse">
                <a:avLst/>
              </a:prstGeom>
              <a:solidFill>
                <a:srgbClr val="3E4D6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  <p:sp>
            <p:nvSpPr>
              <p:cNvPr id="72" name="Oval 71">
                <a:extLst>
                  <a:ext uri="{FF2B5EF4-FFF2-40B4-BE49-F238E27FC236}">
                    <a16:creationId xmlns:a16="http://schemas.microsoft.com/office/drawing/2014/main" id="{0E1FD53B-DBE6-5643-B696-92B351F61968}"/>
                  </a:ext>
                </a:extLst>
              </p:cNvPr>
              <p:cNvSpPr/>
              <p:nvPr/>
            </p:nvSpPr>
            <p:spPr>
              <a:xfrm>
                <a:off x="864537" y="1822859"/>
                <a:ext cx="971309" cy="971307"/>
              </a:xfrm>
              <a:prstGeom prst="ellipse">
                <a:avLst/>
              </a:prstGeom>
              <a:noFill/>
              <a:ln w="19050">
                <a:solidFill>
                  <a:srgbClr val="3E4D62"/>
                </a:solidFill>
                <a:prstDash val="sysDot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sp>
          <p:nvSpPr>
            <p:cNvPr id="70" name="Freeform 83">
              <a:extLst>
                <a:ext uri="{FF2B5EF4-FFF2-40B4-BE49-F238E27FC236}">
                  <a16:creationId xmlns:a16="http://schemas.microsoft.com/office/drawing/2014/main" id="{4B2554F0-BE5A-F146-8B9B-E997290A33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404774" y="2285323"/>
              <a:ext cx="293165" cy="439748"/>
            </a:xfrm>
            <a:custGeom>
              <a:avLst/>
              <a:gdLst/>
              <a:ahLst/>
              <a:cxnLst>
                <a:cxn ang="0">
                  <a:pos x="38" y="26"/>
                </a:cxn>
                <a:cxn ang="0">
                  <a:pos x="24" y="55"/>
                </a:cxn>
                <a:cxn ang="0">
                  <a:pos x="20" y="58"/>
                </a:cxn>
                <a:cxn ang="0">
                  <a:pos x="16" y="55"/>
                </a:cxn>
                <a:cxn ang="0">
                  <a:pos x="2" y="26"/>
                </a:cxn>
                <a:cxn ang="0">
                  <a:pos x="0" y="19"/>
                </a:cxn>
                <a:cxn ang="0">
                  <a:pos x="20" y="0"/>
                </a:cxn>
                <a:cxn ang="0">
                  <a:pos x="39" y="19"/>
                </a:cxn>
                <a:cxn ang="0">
                  <a:pos x="38" y="26"/>
                </a:cxn>
                <a:cxn ang="0">
                  <a:pos x="20" y="9"/>
                </a:cxn>
                <a:cxn ang="0">
                  <a:pos x="10" y="19"/>
                </a:cxn>
                <a:cxn ang="0">
                  <a:pos x="20" y="29"/>
                </a:cxn>
                <a:cxn ang="0">
                  <a:pos x="30" y="19"/>
                </a:cxn>
                <a:cxn ang="0">
                  <a:pos x="20" y="9"/>
                </a:cxn>
              </a:cxnLst>
              <a:rect l="0" t="0" r="r" b="b"/>
              <a:pathLst>
                <a:path w="39" h="58">
                  <a:moveTo>
                    <a:pt x="38" y="26"/>
                  </a:moveTo>
                  <a:cubicBezTo>
                    <a:pt x="24" y="55"/>
                    <a:pt x="24" y="55"/>
                    <a:pt x="24" y="55"/>
                  </a:cubicBezTo>
                  <a:cubicBezTo>
                    <a:pt x="23" y="57"/>
                    <a:pt x="22" y="58"/>
                    <a:pt x="20" y="58"/>
                  </a:cubicBezTo>
                  <a:cubicBezTo>
                    <a:pt x="18" y="58"/>
                    <a:pt x="16" y="57"/>
                    <a:pt x="16" y="55"/>
                  </a:cubicBezTo>
                  <a:cubicBezTo>
                    <a:pt x="2" y="26"/>
                    <a:pt x="2" y="26"/>
                    <a:pt x="2" y="26"/>
                  </a:cubicBezTo>
                  <a:cubicBezTo>
                    <a:pt x="1" y="24"/>
                    <a:pt x="0" y="21"/>
                    <a:pt x="0" y="19"/>
                  </a:cubicBezTo>
                  <a:cubicBezTo>
                    <a:pt x="0" y="8"/>
                    <a:pt x="9" y="0"/>
                    <a:pt x="20" y="0"/>
                  </a:cubicBezTo>
                  <a:cubicBezTo>
                    <a:pt x="31" y="0"/>
                    <a:pt x="39" y="8"/>
                    <a:pt x="39" y="19"/>
                  </a:cubicBezTo>
                  <a:cubicBezTo>
                    <a:pt x="39" y="21"/>
                    <a:pt x="39" y="24"/>
                    <a:pt x="38" y="26"/>
                  </a:cubicBezTo>
                  <a:close/>
                  <a:moveTo>
                    <a:pt x="20" y="9"/>
                  </a:moveTo>
                  <a:cubicBezTo>
                    <a:pt x="15" y="9"/>
                    <a:pt x="10" y="14"/>
                    <a:pt x="10" y="19"/>
                  </a:cubicBezTo>
                  <a:cubicBezTo>
                    <a:pt x="10" y="24"/>
                    <a:pt x="15" y="29"/>
                    <a:pt x="20" y="29"/>
                  </a:cubicBezTo>
                  <a:cubicBezTo>
                    <a:pt x="25" y="29"/>
                    <a:pt x="30" y="24"/>
                    <a:pt x="30" y="19"/>
                  </a:cubicBezTo>
                  <a:cubicBezTo>
                    <a:pt x="30" y="14"/>
                    <a:pt x="25" y="9"/>
                    <a:pt x="20" y="9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73" name="Group 76">
            <a:extLst>
              <a:ext uri="{FF2B5EF4-FFF2-40B4-BE49-F238E27FC236}">
                <a16:creationId xmlns:a16="http://schemas.microsoft.com/office/drawing/2014/main" id="{0E6FB08E-35D2-DC44-AE6E-4390E5801156}"/>
              </a:ext>
            </a:extLst>
          </p:cNvPr>
          <p:cNvGrpSpPr/>
          <p:nvPr/>
        </p:nvGrpSpPr>
        <p:grpSpPr>
          <a:xfrm>
            <a:off x="2758903" y="2232131"/>
            <a:ext cx="3266543" cy="430887"/>
            <a:chOff x="-134718" y="1880623"/>
            <a:chExt cx="3266543" cy="430887"/>
          </a:xfrm>
        </p:grpSpPr>
        <p:sp>
          <p:nvSpPr>
            <p:cNvPr id="74" name="Footer Text">
              <a:extLst>
                <a:ext uri="{FF2B5EF4-FFF2-40B4-BE49-F238E27FC236}">
                  <a16:creationId xmlns:a16="http://schemas.microsoft.com/office/drawing/2014/main" id="{798A1291-1EA9-2F42-B18B-D3A7068F0581}"/>
                </a:ext>
              </a:extLst>
            </p:cNvPr>
            <p:cNvSpPr txBox="1"/>
            <p:nvPr/>
          </p:nvSpPr>
          <p:spPr>
            <a:xfrm>
              <a:off x="-91496" y="2099986"/>
              <a:ext cx="3223321" cy="16664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defTabSz="990570">
                <a:spcBef>
                  <a:spcPct val="20000"/>
                </a:spcBef>
                <a:defRPr/>
              </a:pPr>
              <a:endParaRPr lang="en-US" sz="1050" dirty="0">
                <a:solidFill>
                  <a:srgbClr val="F2F2F2"/>
                </a:solidFill>
                <a:latin typeface="Roboto Condensed"/>
              </a:endParaRPr>
            </a:p>
          </p:txBody>
        </p:sp>
        <p:sp>
          <p:nvSpPr>
            <p:cNvPr id="75" name="TextBox 74">
              <a:extLst>
                <a:ext uri="{FF2B5EF4-FFF2-40B4-BE49-F238E27FC236}">
                  <a16:creationId xmlns:a16="http://schemas.microsoft.com/office/drawing/2014/main" id="{228019F6-FDDB-224A-8D13-232C464C8BC9}"/>
                </a:ext>
              </a:extLst>
            </p:cNvPr>
            <p:cNvSpPr txBox="1"/>
            <p:nvPr/>
          </p:nvSpPr>
          <p:spPr>
            <a:xfrm>
              <a:off x="-134718" y="1880623"/>
              <a:ext cx="2588978" cy="430887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defTabSz="1117560"/>
              <a:r>
                <a:rPr lang="en-US" sz="1400" b="1" dirty="0">
                  <a:latin typeface="Calibri" panose="020F0502020204030204" pitchFamily="34" charset="0"/>
                  <a:cs typeface="Calibri" panose="020F0502020204030204" pitchFamily="34" charset="0"/>
                </a:rPr>
                <a:t>Problem Statement and Objectives</a:t>
              </a:r>
            </a:p>
            <a:p>
              <a:pPr defTabSz="1117560"/>
              <a:endParaRPr lang="en-US" sz="1400" b="1" dirty="0">
                <a:solidFill>
                  <a:srgbClr val="262626">
                    <a:lumMod val="75000"/>
                    <a:lumOff val="25000"/>
                  </a:srgbClr>
                </a:solidFill>
                <a:latin typeface="Roboto Condensed"/>
              </a:endParaRPr>
            </a:p>
          </p:txBody>
        </p:sp>
      </p:grpSp>
      <p:grpSp>
        <p:nvGrpSpPr>
          <p:cNvPr id="76" name="Group 79">
            <a:extLst>
              <a:ext uri="{FF2B5EF4-FFF2-40B4-BE49-F238E27FC236}">
                <a16:creationId xmlns:a16="http://schemas.microsoft.com/office/drawing/2014/main" id="{655C5CEE-85F8-1C45-A6AE-0B496C420C29}"/>
              </a:ext>
            </a:extLst>
          </p:cNvPr>
          <p:cNvGrpSpPr/>
          <p:nvPr/>
        </p:nvGrpSpPr>
        <p:grpSpPr>
          <a:xfrm>
            <a:off x="2802125" y="2978173"/>
            <a:ext cx="3223321" cy="353220"/>
            <a:chOff x="-91496" y="1908349"/>
            <a:chExt cx="3223321" cy="353220"/>
          </a:xfrm>
        </p:grpSpPr>
        <p:sp>
          <p:nvSpPr>
            <p:cNvPr id="77" name="Footer Text">
              <a:extLst>
                <a:ext uri="{FF2B5EF4-FFF2-40B4-BE49-F238E27FC236}">
                  <a16:creationId xmlns:a16="http://schemas.microsoft.com/office/drawing/2014/main" id="{5DC09B7A-A951-6A4C-9FAF-14CCB4D356DE}"/>
                </a:ext>
              </a:extLst>
            </p:cNvPr>
            <p:cNvSpPr txBox="1"/>
            <p:nvPr/>
          </p:nvSpPr>
          <p:spPr>
            <a:xfrm>
              <a:off x="-91496" y="2099986"/>
              <a:ext cx="3223321" cy="16158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defTabSz="990570">
                <a:spcBef>
                  <a:spcPct val="20000"/>
                </a:spcBef>
                <a:defRPr/>
              </a:pPr>
              <a:endParaRPr lang="en-US" sz="1050" dirty="0">
                <a:solidFill>
                  <a:schemeClr val="bg1"/>
                </a:solidFill>
                <a:latin typeface="Roboto Condensed"/>
              </a:endParaRPr>
            </a:p>
          </p:txBody>
        </p:sp>
        <p:sp>
          <p:nvSpPr>
            <p:cNvPr id="78" name="TextBox 77">
              <a:extLst>
                <a:ext uri="{FF2B5EF4-FFF2-40B4-BE49-F238E27FC236}">
                  <a16:creationId xmlns:a16="http://schemas.microsoft.com/office/drawing/2014/main" id="{0AB4667A-40C1-0E40-9BCD-EF15D6D44988}"/>
                </a:ext>
              </a:extLst>
            </p:cNvPr>
            <p:cNvSpPr txBox="1"/>
            <p:nvPr/>
          </p:nvSpPr>
          <p:spPr>
            <a:xfrm>
              <a:off x="-91496" y="1908349"/>
              <a:ext cx="1502014" cy="215444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defTabSz="1117560"/>
              <a:r>
                <a:rPr lang="en-US" sz="1400" b="1" dirty="0">
                  <a:solidFill>
                    <a:srgbClr val="262626">
                      <a:lumMod val="75000"/>
                      <a:lumOff val="25000"/>
                    </a:srgbClr>
                  </a:solidFill>
                  <a:latin typeface="Roboto Condensed"/>
                </a:rPr>
                <a:t>Recommendation</a:t>
              </a:r>
            </a:p>
          </p:txBody>
        </p:sp>
      </p:grpSp>
      <p:grpSp>
        <p:nvGrpSpPr>
          <p:cNvPr id="79" name="Group 82">
            <a:extLst>
              <a:ext uri="{FF2B5EF4-FFF2-40B4-BE49-F238E27FC236}">
                <a16:creationId xmlns:a16="http://schemas.microsoft.com/office/drawing/2014/main" id="{A096205F-7FA4-9E47-9D50-767E04688F65}"/>
              </a:ext>
            </a:extLst>
          </p:cNvPr>
          <p:cNvGrpSpPr/>
          <p:nvPr/>
        </p:nvGrpSpPr>
        <p:grpSpPr>
          <a:xfrm>
            <a:off x="2802125" y="3696490"/>
            <a:ext cx="3223321" cy="358286"/>
            <a:chOff x="-91496" y="1908349"/>
            <a:chExt cx="3223321" cy="358286"/>
          </a:xfrm>
        </p:grpSpPr>
        <p:sp>
          <p:nvSpPr>
            <p:cNvPr id="80" name="Footer Text">
              <a:extLst>
                <a:ext uri="{FF2B5EF4-FFF2-40B4-BE49-F238E27FC236}">
                  <a16:creationId xmlns:a16="http://schemas.microsoft.com/office/drawing/2014/main" id="{1C8BE368-3ECF-FC4D-BD66-1E9380D2D634}"/>
                </a:ext>
              </a:extLst>
            </p:cNvPr>
            <p:cNvSpPr txBox="1"/>
            <p:nvPr/>
          </p:nvSpPr>
          <p:spPr>
            <a:xfrm>
              <a:off x="-91496" y="2099986"/>
              <a:ext cx="3223321" cy="16664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defTabSz="990570">
                <a:spcBef>
                  <a:spcPct val="20000"/>
                </a:spcBef>
                <a:defRPr/>
              </a:pPr>
              <a:endParaRPr lang="en-US" sz="1050" dirty="0">
                <a:solidFill>
                  <a:schemeClr val="bg1"/>
                </a:solidFill>
                <a:latin typeface="Roboto Condensed"/>
              </a:endParaRPr>
            </a:p>
          </p:txBody>
        </p:sp>
        <p:sp>
          <p:nvSpPr>
            <p:cNvPr id="81" name="TextBox 80">
              <a:extLst>
                <a:ext uri="{FF2B5EF4-FFF2-40B4-BE49-F238E27FC236}">
                  <a16:creationId xmlns:a16="http://schemas.microsoft.com/office/drawing/2014/main" id="{A22C41D9-B071-DC4F-B467-857FC57028DE}"/>
                </a:ext>
              </a:extLst>
            </p:cNvPr>
            <p:cNvSpPr txBox="1"/>
            <p:nvPr/>
          </p:nvSpPr>
          <p:spPr>
            <a:xfrm>
              <a:off x="-91496" y="1908349"/>
              <a:ext cx="864019" cy="215444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defTabSz="1117560"/>
              <a:r>
                <a:rPr lang="en-US" sz="1400" b="1" dirty="0">
                  <a:solidFill>
                    <a:srgbClr val="262626">
                      <a:lumMod val="75000"/>
                      <a:lumOff val="25000"/>
                    </a:srgbClr>
                  </a:solidFill>
                  <a:latin typeface="Roboto Condensed"/>
                </a:rPr>
                <a:t>Solution 1</a:t>
              </a:r>
              <a:endParaRPr lang="en-US" sz="1600" b="1" dirty="0">
                <a:solidFill>
                  <a:srgbClr val="262626">
                    <a:lumMod val="75000"/>
                    <a:lumOff val="25000"/>
                  </a:srgbClr>
                </a:solidFill>
                <a:latin typeface="Roboto Condensed"/>
              </a:endParaRPr>
            </a:p>
          </p:txBody>
        </p:sp>
      </p:grpSp>
      <p:grpSp>
        <p:nvGrpSpPr>
          <p:cNvPr id="82" name="Group 85">
            <a:extLst>
              <a:ext uri="{FF2B5EF4-FFF2-40B4-BE49-F238E27FC236}">
                <a16:creationId xmlns:a16="http://schemas.microsoft.com/office/drawing/2014/main" id="{E1ED318B-5687-C441-9F4E-66C47EC947A1}"/>
              </a:ext>
            </a:extLst>
          </p:cNvPr>
          <p:cNvGrpSpPr/>
          <p:nvPr/>
        </p:nvGrpSpPr>
        <p:grpSpPr>
          <a:xfrm>
            <a:off x="2802125" y="4469235"/>
            <a:ext cx="3223321" cy="353220"/>
            <a:chOff x="-91496" y="1908349"/>
            <a:chExt cx="3223321" cy="353220"/>
          </a:xfrm>
        </p:grpSpPr>
        <p:sp>
          <p:nvSpPr>
            <p:cNvPr id="83" name="Footer Text">
              <a:extLst>
                <a:ext uri="{FF2B5EF4-FFF2-40B4-BE49-F238E27FC236}">
                  <a16:creationId xmlns:a16="http://schemas.microsoft.com/office/drawing/2014/main" id="{272616C8-33E8-5D43-B4AD-720B4F844733}"/>
                </a:ext>
              </a:extLst>
            </p:cNvPr>
            <p:cNvSpPr txBox="1"/>
            <p:nvPr/>
          </p:nvSpPr>
          <p:spPr>
            <a:xfrm>
              <a:off x="-91496" y="2099986"/>
              <a:ext cx="3223321" cy="16158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endParaRPr lang="en-US" sz="1050" dirty="0">
                <a:solidFill>
                  <a:schemeClr val="bg1"/>
                </a:solidFill>
              </a:endParaRPr>
            </a:p>
          </p:txBody>
        </p:sp>
        <p:sp>
          <p:nvSpPr>
            <p:cNvPr id="84" name="TextBox 83">
              <a:extLst>
                <a:ext uri="{FF2B5EF4-FFF2-40B4-BE49-F238E27FC236}">
                  <a16:creationId xmlns:a16="http://schemas.microsoft.com/office/drawing/2014/main" id="{E4FC3EF9-58BC-F54C-9880-E1126281B868}"/>
                </a:ext>
              </a:extLst>
            </p:cNvPr>
            <p:cNvSpPr txBox="1"/>
            <p:nvPr/>
          </p:nvSpPr>
          <p:spPr>
            <a:xfrm>
              <a:off x="-91496" y="1908349"/>
              <a:ext cx="864019" cy="215444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defTabSz="1117560"/>
              <a:r>
                <a:rPr lang="en-US" sz="1400" b="1" dirty="0">
                  <a:solidFill>
                    <a:srgbClr val="262626">
                      <a:lumMod val="75000"/>
                      <a:lumOff val="25000"/>
                    </a:srgbClr>
                  </a:solidFill>
                  <a:latin typeface="Roboto Condensed"/>
                </a:rPr>
                <a:t>Solution 2</a:t>
              </a:r>
              <a:endParaRPr lang="en-US" sz="1600" b="1" dirty="0">
                <a:solidFill>
                  <a:srgbClr val="262626">
                    <a:lumMod val="75000"/>
                    <a:lumOff val="25000"/>
                  </a:srgbClr>
                </a:solidFill>
                <a:latin typeface="Roboto Condensed"/>
              </a:endParaRPr>
            </a:p>
          </p:txBody>
        </p:sp>
      </p:grpSp>
      <p:grpSp>
        <p:nvGrpSpPr>
          <p:cNvPr id="85" name="Group 88">
            <a:extLst>
              <a:ext uri="{FF2B5EF4-FFF2-40B4-BE49-F238E27FC236}">
                <a16:creationId xmlns:a16="http://schemas.microsoft.com/office/drawing/2014/main" id="{A353C857-4FA5-5C4C-8A28-10FC63331E0D}"/>
              </a:ext>
            </a:extLst>
          </p:cNvPr>
          <p:cNvGrpSpPr/>
          <p:nvPr/>
        </p:nvGrpSpPr>
        <p:grpSpPr>
          <a:xfrm>
            <a:off x="2793982" y="5256843"/>
            <a:ext cx="3223321" cy="408491"/>
            <a:chOff x="-99639" y="2010301"/>
            <a:chExt cx="3223321" cy="408491"/>
          </a:xfrm>
        </p:grpSpPr>
        <p:sp>
          <p:nvSpPr>
            <p:cNvPr id="86" name="Footer Text">
              <a:extLst>
                <a:ext uri="{FF2B5EF4-FFF2-40B4-BE49-F238E27FC236}">
                  <a16:creationId xmlns:a16="http://schemas.microsoft.com/office/drawing/2014/main" id="{055FC40B-4B06-5543-8EF3-779860C4427E}"/>
                </a:ext>
              </a:extLst>
            </p:cNvPr>
            <p:cNvSpPr txBox="1"/>
            <p:nvPr/>
          </p:nvSpPr>
          <p:spPr>
            <a:xfrm>
              <a:off x="-99639" y="2252143"/>
              <a:ext cx="3223321" cy="16664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defTabSz="990570">
                <a:spcBef>
                  <a:spcPct val="20000"/>
                </a:spcBef>
                <a:defRPr/>
              </a:pPr>
              <a:endParaRPr lang="en-US" sz="1050" dirty="0">
                <a:solidFill>
                  <a:schemeClr val="bg1"/>
                </a:solidFill>
                <a:latin typeface="Roboto Condensed"/>
              </a:endParaRPr>
            </a:p>
          </p:txBody>
        </p:sp>
        <p:sp>
          <p:nvSpPr>
            <p:cNvPr id="87" name="TextBox 86">
              <a:extLst>
                <a:ext uri="{FF2B5EF4-FFF2-40B4-BE49-F238E27FC236}">
                  <a16:creationId xmlns:a16="http://schemas.microsoft.com/office/drawing/2014/main" id="{DF9068D6-4B34-384C-8443-49E9E8826FFF}"/>
                </a:ext>
              </a:extLst>
            </p:cNvPr>
            <p:cNvSpPr txBox="1"/>
            <p:nvPr/>
          </p:nvSpPr>
          <p:spPr>
            <a:xfrm>
              <a:off x="-91496" y="2010301"/>
              <a:ext cx="1517980" cy="215444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defTabSz="1117560"/>
              <a:r>
                <a:rPr lang="en-US" sz="1400" b="1" dirty="0">
                  <a:solidFill>
                    <a:srgbClr val="262626">
                      <a:lumMod val="75000"/>
                      <a:lumOff val="25000"/>
                    </a:srgbClr>
                  </a:solidFill>
                  <a:latin typeface="Roboto Condensed"/>
                </a:rPr>
                <a:t>Timeline and Risk</a:t>
              </a:r>
            </a:p>
          </p:txBody>
        </p:sp>
      </p:grpSp>
      <p:sp>
        <p:nvSpPr>
          <p:cNvPr id="88" name="Oval 87">
            <a:extLst>
              <a:ext uri="{FF2B5EF4-FFF2-40B4-BE49-F238E27FC236}">
                <a16:creationId xmlns:a16="http://schemas.microsoft.com/office/drawing/2014/main" id="{E6E82AE0-821B-4C4F-92EC-3269F44D21F4}"/>
              </a:ext>
            </a:extLst>
          </p:cNvPr>
          <p:cNvSpPr/>
          <p:nvPr/>
        </p:nvSpPr>
        <p:spPr>
          <a:xfrm>
            <a:off x="2088718" y="2232131"/>
            <a:ext cx="618157" cy="618157"/>
          </a:xfrm>
          <a:prstGeom prst="ellipse">
            <a:avLst/>
          </a:prstGeom>
          <a:noFill/>
          <a:ln w="19050">
            <a:solidFill>
              <a:srgbClr val="3E4D62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/>
          </a:p>
        </p:txBody>
      </p:sp>
      <p:grpSp>
        <p:nvGrpSpPr>
          <p:cNvPr id="89" name="Group 37">
            <a:extLst>
              <a:ext uri="{FF2B5EF4-FFF2-40B4-BE49-F238E27FC236}">
                <a16:creationId xmlns:a16="http://schemas.microsoft.com/office/drawing/2014/main" id="{E1AD9983-8540-4F46-BB59-7B3390882CC9}"/>
              </a:ext>
            </a:extLst>
          </p:cNvPr>
          <p:cNvGrpSpPr/>
          <p:nvPr/>
        </p:nvGrpSpPr>
        <p:grpSpPr>
          <a:xfrm>
            <a:off x="8652760" y="3289826"/>
            <a:ext cx="1310988" cy="1310984"/>
            <a:chOff x="7147213" y="2364759"/>
            <a:chExt cx="1310988" cy="1310984"/>
          </a:xfrm>
        </p:grpSpPr>
        <p:sp>
          <p:nvSpPr>
            <p:cNvPr id="90" name="Freeform 89">
              <a:extLst>
                <a:ext uri="{FF2B5EF4-FFF2-40B4-BE49-F238E27FC236}">
                  <a16:creationId xmlns:a16="http://schemas.microsoft.com/office/drawing/2014/main" id="{021D5DED-11B8-3041-8364-5513AE8F8B5A}"/>
                </a:ext>
              </a:extLst>
            </p:cNvPr>
            <p:cNvSpPr/>
            <p:nvPr/>
          </p:nvSpPr>
          <p:spPr>
            <a:xfrm>
              <a:off x="7147213" y="2364759"/>
              <a:ext cx="1310988" cy="1310984"/>
            </a:xfrm>
            <a:custGeom>
              <a:avLst/>
              <a:gdLst>
                <a:gd name="connsiteX0" fmla="*/ 0 w 661361"/>
                <a:gd name="connsiteY0" fmla="*/ 330681 h 661361"/>
                <a:gd name="connsiteX1" fmla="*/ 96855 w 661361"/>
                <a:gd name="connsiteY1" fmla="*/ 96854 h 661361"/>
                <a:gd name="connsiteX2" fmla="*/ 330682 w 661361"/>
                <a:gd name="connsiteY2" fmla="*/ 0 h 661361"/>
                <a:gd name="connsiteX3" fmla="*/ 564509 w 661361"/>
                <a:gd name="connsiteY3" fmla="*/ 96855 h 661361"/>
                <a:gd name="connsiteX4" fmla="*/ 661363 w 661361"/>
                <a:gd name="connsiteY4" fmla="*/ 330682 h 661361"/>
                <a:gd name="connsiteX5" fmla="*/ 564509 w 661361"/>
                <a:gd name="connsiteY5" fmla="*/ 564509 h 661361"/>
                <a:gd name="connsiteX6" fmla="*/ 330682 w 661361"/>
                <a:gd name="connsiteY6" fmla="*/ 661363 h 661361"/>
                <a:gd name="connsiteX7" fmla="*/ 96855 w 661361"/>
                <a:gd name="connsiteY7" fmla="*/ 564509 h 661361"/>
                <a:gd name="connsiteX8" fmla="*/ 1 w 661361"/>
                <a:gd name="connsiteY8" fmla="*/ 330682 h 661361"/>
                <a:gd name="connsiteX9" fmla="*/ 0 w 661361"/>
                <a:gd name="connsiteY9" fmla="*/ 330681 h 6613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61361" h="661361">
                  <a:moveTo>
                    <a:pt x="0" y="330681"/>
                  </a:moveTo>
                  <a:cubicBezTo>
                    <a:pt x="0" y="242979"/>
                    <a:pt x="34840" y="158869"/>
                    <a:pt x="96855" y="96854"/>
                  </a:cubicBezTo>
                  <a:cubicBezTo>
                    <a:pt x="158870" y="34839"/>
                    <a:pt x="242980" y="0"/>
                    <a:pt x="330682" y="0"/>
                  </a:cubicBezTo>
                  <a:cubicBezTo>
                    <a:pt x="418384" y="0"/>
                    <a:pt x="502494" y="34840"/>
                    <a:pt x="564509" y="96855"/>
                  </a:cubicBezTo>
                  <a:cubicBezTo>
                    <a:pt x="626524" y="158870"/>
                    <a:pt x="661363" y="242980"/>
                    <a:pt x="661363" y="330682"/>
                  </a:cubicBezTo>
                  <a:cubicBezTo>
                    <a:pt x="661363" y="418384"/>
                    <a:pt x="626523" y="502494"/>
                    <a:pt x="564509" y="564509"/>
                  </a:cubicBezTo>
                  <a:cubicBezTo>
                    <a:pt x="502494" y="626524"/>
                    <a:pt x="418384" y="661363"/>
                    <a:pt x="330682" y="661363"/>
                  </a:cubicBezTo>
                  <a:cubicBezTo>
                    <a:pt x="242980" y="661363"/>
                    <a:pt x="158870" y="626523"/>
                    <a:pt x="96855" y="564509"/>
                  </a:cubicBezTo>
                  <a:cubicBezTo>
                    <a:pt x="34840" y="502494"/>
                    <a:pt x="1" y="418384"/>
                    <a:pt x="1" y="330682"/>
                  </a:cubicBezTo>
                  <a:lnTo>
                    <a:pt x="0" y="330681"/>
                  </a:lnTo>
                  <a:close/>
                </a:path>
              </a:pathLst>
            </a:custGeom>
            <a:solidFill>
              <a:srgbClr val="ED7D31"/>
            </a:solidFill>
            <a:ln w="19050"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06379" tIns="106379" rIns="106379" bIns="106379" numCol="1" spcCol="1270" anchor="ctr" anchorCtr="0">
              <a:noAutofit/>
            </a:bodyPr>
            <a:lstStyle/>
            <a:p>
              <a:pPr algn="ctr" defTabSz="6667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en-US" sz="4000" dirty="0"/>
            </a:p>
          </p:txBody>
        </p:sp>
        <p:grpSp>
          <p:nvGrpSpPr>
            <p:cNvPr id="91" name="Group 34">
              <a:extLst>
                <a:ext uri="{FF2B5EF4-FFF2-40B4-BE49-F238E27FC236}">
                  <a16:creationId xmlns:a16="http://schemas.microsoft.com/office/drawing/2014/main" id="{BAE42409-A89E-EA45-9C63-018174103A3F}"/>
                </a:ext>
              </a:extLst>
            </p:cNvPr>
            <p:cNvGrpSpPr/>
            <p:nvPr/>
          </p:nvGrpSpPr>
          <p:grpSpPr>
            <a:xfrm>
              <a:off x="7530095" y="2623561"/>
              <a:ext cx="545225" cy="793380"/>
              <a:chOff x="4075113" y="1909763"/>
              <a:chExt cx="247650" cy="360363"/>
            </a:xfrm>
            <a:solidFill>
              <a:schemeClr val="bg1"/>
            </a:solidFill>
          </p:grpSpPr>
          <p:sp>
            <p:nvSpPr>
              <p:cNvPr id="92" name="Freeform 78">
                <a:extLst>
                  <a:ext uri="{FF2B5EF4-FFF2-40B4-BE49-F238E27FC236}">
                    <a16:creationId xmlns:a16="http://schemas.microsoft.com/office/drawing/2014/main" id="{A380178E-2437-824A-A5B4-2105AFC9936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075113" y="1909763"/>
                <a:ext cx="247650" cy="360363"/>
              </a:xfrm>
              <a:custGeom>
                <a:avLst/>
                <a:gdLst/>
                <a:ahLst/>
                <a:cxnLst>
                  <a:cxn ang="0">
                    <a:pos x="42" y="0"/>
                  </a:cxn>
                  <a:cxn ang="0">
                    <a:pos x="0" y="42"/>
                  </a:cxn>
                  <a:cxn ang="0">
                    <a:pos x="19" y="88"/>
                  </a:cxn>
                  <a:cxn ang="0">
                    <a:pos x="42" y="123"/>
                  </a:cxn>
                  <a:cxn ang="0">
                    <a:pos x="65" y="88"/>
                  </a:cxn>
                  <a:cxn ang="0">
                    <a:pos x="85" y="42"/>
                  </a:cxn>
                  <a:cxn ang="0">
                    <a:pos x="42" y="0"/>
                  </a:cxn>
                  <a:cxn ang="0">
                    <a:pos x="52" y="104"/>
                  </a:cxn>
                  <a:cxn ang="0">
                    <a:pos x="33" y="106"/>
                  </a:cxn>
                  <a:cxn ang="0">
                    <a:pos x="31" y="99"/>
                  </a:cxn>
                  <a:cxn ang="0">
                    <a:pos x="31" y="99"/>
                  </a:cxn>
                  <a:cxn ang="0">
                    <a:pos x="55" y="96"/>
                  </a:cxn>
                  <a:cxn ang="0">
                    <a:pos x="54" y="99"/>
                  </a:cxn>
                  <a:cxn ang="0">
                    <a:pos x="52" y="104"/>
                  </a:cxn>
                  <a:cxn ang="0">
                    <a:pos x="30" y="95"/>
                  </a:cxn>
                  <a:cxn ang="0">
                    <a:pos x="27" y="88"/>
                  </a:cxn>
                  <a:cxn ang="0">
                    <a:pos x="57" y="88"/>
                  </a:cxn>
                  <a:cxn ang="0">
                    <a:pos x="56" y="92"/>
                  </a:cxn>
                  <a:cxn ang="0">
                    <a:pos x="30" y="95"/>
                  </a:cxn>
                  <a:cxn ang="0">
                    <a:pos x="42" y="115"/>
                  </a:cxn>
                  <a:cxn ang="0">
                    <a:pos x="35" y="110"/>
                  </a:cxn>
                  <a:cxn ang="0">
                    <a:pos x="51" y="108"/>
                  </a:cxn>
                  <a:cxn ang="0">
                    <a:pos x="42" y="115"/>
                  </a:cxn>
                  <a:cxn ang="0">
                    <a:pos x="60" y="80"/>
                  </a:cxn>
                  <a:cxn ang="0">
                    <a:pos x="24" y="80"/>
                  </a:cxn>
                  <a:cxn ang="0">
                    <a:pos x="18" y="68"/>
                  </a:cxn>
                  <a:cxn ang="0">
                    <a:pos x="8" y="42"/>
                  </a:cxn>
                  <a:cxn ang="0">
                    <a:pos x="42" y="8"/>
                  </a:cxn>
                  <a:cxn ang="0">
                    <a:pos x="77" y="42"/>
                  </a:cxn>
                  <a:cxn ang="0">
                    <a:pos x="67" y="68"/>
                  </a:cxn>
                  <a:cxn ang="0">
                    <a:pos x="60" y="80"/>
                  </a:cxn>
                  <a:cxn ang="0">
                    <a:pos x="60" y="80"/>
                  </a:cxn>
                  <a:cxn ang="0">
                    <a:pos x="60" y="80"/>
                  </a:cxn>
                </a:cxnLst>
                <a:rect l="0" t="0" r="r" b="b"/>
                <a:pathLst>
                  <a:path w="85" h="123">
                    <a:moveTo>
                      <a:pt x="42" y="0"/>
                    </a:moveTo>
                    <a:cubicBezTo>
                      <a:pt x="19" y="0"/>
                      <a:pt x="0" y="19"/>
                      <a:pt x="0" y="42"/>
                    </a:cubicBezTo>
                    <a:cubicBezTo>
                      <a:pt x="0" y="57"/>
                      <a:pt x="14" y="74"/>
                      <a:pt x="19" y="88"/>
                    </a:cubicBezTo>
                    <a:cubicBezTo>
                      <a:pt x="27" y="110"/>
                      <a:pt x="26" y="123"/>
                      <a:pt x="42" y="123"/>
                    </a:cubicBezTo>
                    <a:cubicBezTo>
                      <a:pt x="59" y="123"/>
                      <a:pt x="58" y="110"/>
                      <a:pt x="65" y="88"/>
                    </a:cubicBezTo>
                    <a:cubicBezTo>
                      <a:pt x="70" y="74"/>
                      <a:pt x="85" y="57"/>
                      <a:pt x="85" y="42"/>
                    </a:cubicBezTo>
                    <a:cubicBezTo>
                      <a:pt x="85" y="19"/>
                      <a:pt x="66" y="0"/>
                      <a:pt x="42" y="0"/>
                    </a:cubicBezTo>
                    <a:close/>
                    <a:moveTo>
                      <a:pt x="52" y="104"/>
                    </a:moveTo>
                    <a:cubicBezTo>
                      <a:pt x="33" y="106"/>
                      <a:pt x="33" y="106"/>
                      <a:pt x="33" y="106"/>
                    </a:cubicBezTo>
                    <a:cubicBezTo>
                      <a:pt x="33" y="104"/>
                      <a:pt x="32" y="102"/>
                      <a:pt x="31" y="99"/>
                    </a:cubicBezTo>
                    <a:cubicBezTo>
                      <a:pt x="31" y="99"/>
                      <a:pt x="31" y="99"/>
                      <a:pt x="31" y="99"/>
                    </a:cubicBezTo>
                    <a:cubicBezTo>
                      <a:pt x="55" y="96"/>
                      <a:pt x="55" y="96"/>
                      <a:pt x="55" y="96"/>
                    </a:cubicBezTo>
                    <a:cubicBezTo>
                      <a:pt x="54" y="97"/>
                      <a:pt x="54" y="98"/>
                      <a:pt x="54" y="99"/>
                    </a:cubicBezTo>
                    <a:cubicBezTo>
                      <a:pt x="53" y="101"/>
                      <a:pt x="53" y="103"/>
                      <a:pt x="52" y="104"/>
                    </a:cubicBezTo>
                    <a:close/>
                    <a:moveTo>
                      <a:pt x="30" y="95"/>
                    </a:moveTo>
                    <a:cubicBezTo>
                      <a:pt x="29" y="93"/>
                      <a:pt x="28" y="91"/>
                      <a:pt x="27" y="88"/>
                    </a:cubicBezTo>
                    <a:cubicBezTo>
                      <a:pt x="57" y="88"/>
                      <a:pt x="57" y="88"/>
                      <a:pt x="57" y="88"/>
                    </a:cubicBezTo>
                    <a:cubicBezTo>
                      <a:pt x="57" y="89"/>
                      <a:pt x="56" y="91"/>
                      <a:pt x="56" y="92"/>
                    </a:cubicBezTo>
                    <a:lnTo>
                      <a:pt x="30" y="95"/>
                    </a:lnTo>
                    <a:close/>
                    <a:moveTo>
                      <a:pt x="42" y="115"/>
                    </a:moveTo>
                    <a:cubicBezTo>
                      <a:pt x="38" y="115"/>
                      <a:pt x="37" y="114"/>
                      <a:pt x="35" y="110"/>
                    </a:cubicBezTo>
                    <a:cubicBezTo>
                      <a:pt x="51" y="108"/>
                      <a:pt x="51" y="108"/>
                      <a:pt x="51" y="108"/>
                    </a:cubicBezTo>
                    <a:cubicBezTo>
                      <a:pt x="49" y="114"/>
                      <a:pt x="47" y="115"/>
                      <a:pt x="42" y="115"/>
                    </a:cubicBezTo>
                    <a:close/>
                    <a:moveTo>
                      <a:pt x="60" y="80"/>
                    </a:moveTo>
                    <a:cubicBezTo>
                      <a:pt x="24" y="80"/>
                      <a:pt x="24" y="80"/>
                      <a:pt x="24" y="80"/>
                    </a:cubicBezTo>
                    <a:cubicBezTo>
                      <a:pt x="23" y="76"/>
                      <a:pt x="20" y="72"/>
                      <a:pt x="18" y="68"/>
                    </a:cubicBezTo>
                    <a:cubicBezTo>
                      <a:pt x="13" y="59"/>
                      <a:pt x="8" y="50"/>
                      <a:pt x="8" y="42"/>
                    </a:cubicBezTo>
                    <a:cubicBezTo>
                      <a:pt x="8" y="23"/>
                      <a:pt x="23" y="8"/>
                      <a:pt x="42" y="8"/>
                    </a:cubicBezTo>
                    <a:cubicBezTo>
                      <a:pt x="61" y="8"/>
                      <a:pt x="77" y="23"/>
                      <a:pt x="77" y="42"/>
                    </a:cubicBezTo>
                    <a:cubicBezTo>
                      <a:pt x="77" y="50"/>
                      <a:pt x="72" y="59"/>
                      <a:pt x="67" y="68"/>
                    </a:cubicBezTo>
                    <a:cubicBezTo>
                      <a:pt x="64" y="72"/>
                      <a:pt x="62" y="76"/>
                      <a:pt x="60" y="80"/>
                    </a:cubicBezTo>
                    <a:close/>
                    <a:moveTo>
                      <a:pt x="60" y="80"/>
                    </a:moveTo>
                    <a:cubicBezTo>
                      <a:pt x="60" y="80"/>
                      <a:pt x="60" y="80"/>
                      <a:pt x="60" y="8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3" name="Freeform 79">
                <a:extLst>
                  <a:ext uri="{FF2B5EF4-FFF2-40B4-BE49-F238E27FC236}">
                    <a16:creationId xmlns:a16="http://schemas.microsoft.com/office/drawing/2014/main" id="{5B8CD6F8-826F-4E4D-800B-490F3E6422F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130675" y="1965326"/>
                <a:ext cx="73025" cy="73025"/>
              </a:xfrm>
              <a:custGeom>
                <a:avLst/>
                <a:gdLst/>
                <a:ahLst/>
                <a:cxnLst>
                  <a:cxn ang="0">
                    <a:pos x="23" y="0"/>
                  </a:cxn>
                  <a:cxn ang="0">
                    <a:pos x="0" y="23"/>
                  </a:cxn>
                  <a:cxn ang="0">
                    <a:pos x="2" y="25"/>
                  </a:cxn>
                  <a:cxn ang="0">
                    <a:pos x="4" y="23"/>
                  </a:cxn>
                  <a:cxn ang="0">
                    <a:pos x="23" y="4"/>
                  </a:cxn>
                  <a:cxn ang="0">
                    <a:pos x="25" y="2"/>
                  </a:cxn>
                  <a:cxn ang="0">
                    <a:pos x="23" y="0"/>
                  </a:cxn>
                  <a:cxn ang="0">
                    <a:pos x="23" y="0"/>
                  </a:cxn>
                  <a:cxn ang="0">
                    <a:pos x="23" y="0"/>
                  </a:cxn>
                </a:cxnLst>
                <a:rect l="0" t="0" r="r" b="b"/>
                <a:pathLst>
                  <a:path w="25" h="25">
                    <a:moveTo>
                      <a:pt x="23" y="0"/>
                    </a:moveTo>
                    <a:cubicBezTo>
                      <a:pt x="11" y="0"/>
                      <a:pt x="0" y="10"/>
                      <a:pt x="0" y="23"/>
                    </a:cubicBezTo>
                    <a:cubicBezTo>
                      <a:pt x="0" y="24"/>
                      <a:pt x="1" y="25"/>
                      <a:pt x="2" y="25"/>
                    </a:cubicBezTo>
                    <a:cubicBezTo>
                      <a:pt x="3" y="25"/>
                      <a:pt x="4" y="24"/>
                      <a:pt x="4" y="23"/>
                    </a:cubicBezTo>
                    <a:cubicBezTo>
                      <a:pt x="4" y="12"/>
                      <a:pt x="13" y="4"/>
                      <a:pt x="23" y="4"/>
                    </a:cubicBezTo>
                    <a:cubicBezTo>
                      <a:pt x="24" y="4"/>
                      <a:pt x="25" y="3"/>
                      <a:pt x="25" y="2"/>
                    </a:cubicBezTo>
                    <a:cubicBezTo>
                      <a:pt x="25" y="1"/>
                      <a:pt x="24" y="0"/>
                      <a:pt x="23" y="0"/>
                    </a:cubicBezTo>
                    <a:close/>
                    <a:moveTo>
                      <a:pt x="23" y="0"/>
                    </a:moveTo>
                    <a:cubicBezTo>
                      <a:pt x="23" y="0"/>
                      <a:pt x="23" y="0"/>
                      <a:pt x="23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63257741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5" grpId="0" animBg="1"/>
      <p:bldP spid="46" grpId="0" animBg="1"/>
      <p:bldP spid="47" grpId="0" animBg="1"/>
      <p:bldP spid="48" grpId="0" animBg="1"/>
      <p:bldP spid="49" grpId="0" animBg="1"/>
      <p:bldP spid="88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468" y="265238"/>
          <a:ext cx="1465" cy="146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10" name="Object 9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468" y="265238"/>
                        <a:ext cx="1465" cy="146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>
            <p:custDataLst>
              <p:tags r:id="rId3"/>
            </p:custDataLst>
          </p:nvPr>
        </p:nvSpPr>
        <p:spPr bwMode="auto">
          <a:xfrm>
            <a:off x="1524000" y="263769"/>
            <a:ext cx="146538" cy="146538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914400"/>
            <a:endParaRPr lang="en-US" sz="2000" b="1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0" name="Block Arc 19">
            <a:extLst>
              <a:ext uri="{FF2B5EF4-FFF2-40B4-BE49-F238E27FC236}">
                <a16:creationId xmlns:a16="http://schemas.microsoft.com/office/drawing/2014/main" id="{2AF7F88E-4CC1-D94C-9A06-AA122BE3C566}"/>
              </a:ext>
            </a:extLst>
          </p:cNvPr>
          <p:cNvSpPr/>
          <p:nvPr/>
        </p:nvSpPr>
        <p:spPr>
          <a:xfrm>
            <a:off x="3340442" y="2300655"/>
            <a:ext cx="4942662" cy="4893334"/>
          </a:xfrm>
          <a:prstGeom prst="blockArc">
            <a:avLst/>
          </a:prstGeom>
          <a:solidFill>
            <a:srgbClr val="ED7D31"/>
          </a:solidFill>
          <a:ln>
            <a:noFill/>
          </a:ln>
          <a:effectLst>
            <a:innerShdw blurRad="114300">
              <a:prstClr val="black"/>
            </a:innerShdw>
          </a:effectLst>
          <a:scene3d>
            <a:camera prst="orthographicFront"/>
            <a:lightRig rig="threePt" dir="t"/>
          </a:scene3d>
          <a:sp3d contourW="12700">
            <a:contourClr>
              <a:schemeClr val="bg1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950"/>
            <a:endParaRPr lang="en-US" sz="1463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22" name="Block Arc 21">
            <a:extLst>
              <a:ext uri="{FF2B5EF4-FFF2-40B4-BE49-F238E27FC236}">
                <a16:creationId xmlns:a16="http://schemas.microsoft.com/office/drawing/2014/main" id="{CCA92EA2-1A46-5342-A234-B898ADB764D2}"/>
              </a:ext>
            </a:extLst>
          </p:cNvPr>
          <p:cNvSpPr/>
          <p:nvPr/>
        </p:nvSpPr>
        <p:spPr>
          <a:xfrm>
            <a:off x="3340442" y="2309839"/>
            <a:ext cx="4942662" cy="4893334"/>
          </a:xfrm>
          <a:prstGeom prst="blockArc">
            <a:avLst>
              <a:gd name="adj1" fmla="val 12883839"/>
              <a:gd name="adj2" fmla="val 0"/>
              <a:gd name="adj3" fmla="val 25000"/>
            </a:avLst>
          </a:prstGeom>
          <a:solidFill>
            <a:srgbClr val="3E4D62"/>
          </a:solidFill>
          <a:ln>
            <a:noFill/>
          </a:ln>
          <a:effectLst>
            <a:innerShdw blurRad="114300">
              <a:prstClr val="black"/>
            </a:innerShdw>
          </a:effectLst>
          <a:scene3d>
            <a:camera prst="orthographicFront"/>
            <a:lightRig rig="threePt" dir="t"/>
          </a:scene3d>
          <a:sp3d contourW="12700">
            <a:contourClr>
              <a:schemeClr val="bg1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950"/>
            <a:endParaRPr lang="en-US" sz="1463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03EE583B-9314-2B48-8A00-E70572AA92D3}"/>
              </a:ext>
            </a:extLst>
          </p:cNvPr>
          <p:cNvSpPr txBox="1"/>
          <p:nvPr/>
        </p:nvSpPr>
        <p:spPr>
          <a:xfrm>
            <a:off x="1280247" y="3734616"/>
            <a:ext cx="3903521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117560"/>
            <a:r>
              <a:rPr lang="en-US" b="1" dirty="0">
                <a:solidFill>
                  <a:srgbClr val="6B6B6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oblem Statement</a:t>
            </a:r>
          </a:p>
          <a:p>
            <a:pPr defTabSz="1117560"/>
            <a:r>
              <a:rPr lang="en-US" b="1" dirty="0">
                <a:solidFill>
                  <a:srgbClr val="6B6B6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and Objectives</a:t>
            </a:r>
          </a:p>
          <a:p>
            <a:pPr defTabSz="1117560"/>
            <a:endParaRPr lang="en-US" b="1" dirty="0">
              <a:solidFill>
                <a:srgbClr val="6B6B6B"/>
              </a:solidFill>
              <a:latin typeface="Roboto Condensed"/>
            </a:endParaRPr>
          </a:p>
        </p:txBody>
      </p:sp>
      <p:sp>
        <p:nvSpPr>
          <p:cNvPr id="21" name="Freeform 20">
            <a:extLst>
              <a:ext uri="{FF2B5EF4-FFF2-40B4-BE49-F238E27FC236}">
                <a16:creationId xmlns:a16="http://schemas.microsoft.com/office/drawing/2014/main" id="{CAA5FDE6-BFF1-CC47-9544-8FBF73721DB2}"/>
              </a:ext>
            </a:extLst>
          </p:cNvPr>
          <p:cNvSpPr/>
          <p:nvPr/>
        </p:nvSpPr>
        <p:spPr>
          <a:xfrm rot="14355879">
            <a:off x="4373478" y="3398113"/>
            <a:ext cx="1620580" cy="2249355"/>
          </a:xfrm>
          <a:custGeom>
            <a:avLst/>
            <a:gdLst>
              <a:gd name="connsiteX0" fmla="*/ 1079315 w 1079315"/>
              <a:gd name="connsiteY0" fmla="*/ 0 h 1513184"/>
              <a:gd name="connsiteX1" fmla="*/ 610314 w 1079315"/>
              <a:gd name="connsiteY1" fmla="*/ 877178 h 1513184"/>
              <a:gd name="connsiteX2" fmla="*/ 624392 w 1079315"/>
              <a:gd name="connsiteY2" fmla="*/ 888793 h 1513184"/>
              <a:gd name="connsiteX3" fmla="*/ 731520 w 1079315"/>
              <a:gd name="connsiteY3" fmla="*/ 1147424 h 1513184"/>
              <a:gd name="connsiteX4" fmla="*/ 365760 w 1079315"/>
              <a:gd name="connsiteY4" fmla="*/ 1513184 h 1513184"/>
              <a:gd name="connsiteX5" fmla="*/ 0 w 1079315"/>
              <a:gd name="connsiteY5" fmla="*/ 1147424 h 1513184"/>
              <a:gd name="connsiteX6" fmla="*/ 365760 w 1079315"/>
              <a:gd name="connsiteY6" fmla="*/ 781664 h 1513184"/>
              <a:gd name="connsiteX7" fmla="*/ 439474 w 1079315"/>
              <a:gd name="connsiteY7" fmla="*/ 789095 h 1513184"/>
              <a:gd name="connsiteX8" fmla="*/ 498981 w 1079315"/>
              <a:gd name="connsiteY8" fmla="*/ 807567 h 15131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079315" h="1513184">
                <a:moveTo>
                  <a:pt x="1079315" y="0"/>
                </a:moveTo>
                <a:lnTo>
                  <a:pt x="610314" y="877178"/>
                </a:lnTo>
                <a:lnTo>
                  <a:pt x="624392" y="888793"/>
                </a:lnTo>
                <a:cubicBezTo>
                  <a:pt x="690581" y="954982"/>
                  <a:pt x="731520" y="1046422"/>
                  <a:pt x="731520" y="1147424"/>
                </a:cubicBezTo>
                <a:cubicBezTo>
                  <a:pt x="731520" y="1349428"/>
                  <a:pt x="567764" y="1513184"/>
                  <a:pt x="365760" y="1513184"/>
                </a:cubicBezTo>
                <a:cubicBezTo>
                  <a:pt x="163756" y="1513184"/>
                  <a:pt x="0" y="1349428"/>
                  <a:pt x="0" y="1147424"/>
                </a:cubicBezTo>
                <a:cubicBezTo>
                  <a:pt x="0" y="945420"/>
                  <a:pt x="163756" y="781664"/>
                  <a:pt x="365760" y="781664"/>
                </a:cubicBezTo>
                <a:cubicBezTo>
                  <a:pt x="391011" y="781664"/>
                  <a:pt x="415663" y="784223"/>
                  <a:pt x="439474" y="789095"/>
                </a:cubicBezTo>
                <a:lnTo>
                  <a:pt x="498981" y="807567"/>
                </a:lnTo>
                <a:close/>
              </a:path>
            </a:pathLst>
          </a:custGeom>
          <a:solidFill>
            <a:srgbClr val="6B6B6B"/>
          </a:solidFill>
          <a:ln>
            <a:noFill/>
          </a:ln>
          <a:effectLst>
            <a:innerShdw blurRad="63500" dist="50800" dir="13500000">
              <a:prstClr val="black">
                <a:alpha val="50000"/>
              </a:prstClr>
            </a:innerShdw>
          </a:effectLst>
          <a:scene3d>
            <a:camera prst="orthographicFront"/>
            <a:lightRig rig="threePt" dir="t"/>
          </a:scene3d>
          <a:sp3d contourW="12700">
            <a:contourClr>
              <a:schemeClr val="bg1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950"/>
            <a:endParaRPr lang="en-US" sz="1463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6443097D-7EA5-C74D-972E-71FD80A3BD83}"/>
              </a:ext>
            </a:extLst>
          </p:cNvPr>
          <p:cNvSpPr txBox="1"/>
          <p:nvPr/>
        </p:nvSpPr>
        <p:spPr>
          <a:xfrm>
            <a:off x="5183768" y="1775079"/>
            <a:ext cx="390352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117560"/>
            <a:r>
              <a:rPr lang="en-US" b="1" dirty="0">
                <a:solidFill>
                  <a:srgbClr val="6B6B6B"/>
                </a:solidFill>
                <a:latin typeface="Roboto Condensed"/>
              </a:rPr>
              <a:t>Solution 1</a:t>
            </a:r>
            <a:endParaRPr lang="en-US" sz="2000" b="1" dirty="0">
              <a:solidFill>
                <a:srgbClr val="6B6B6B"/>
              </a:solidFill>
              <a:latin typeface="Roboto Condensed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92A6E34A-CD39-B343-960F-811CEE13076F}"/>
              </a:ext>
            </a:extLst>
          </p:cNvPr>
          <p:cNvSpPr txBox="1"/>
          <p:nvPr/>
        </p:nvSpPr>
        <p:spPr>
          <a:xfrm>
            <a:off x="2427822" y="2356615"/>
            <a:ext cx="390352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117560"/>
            <a:r>
              <a:rPr lang="en-US" b="1" dirty="0">
                <a:solidFill>
                  <a:srgbClr val="6B6B6B"/>
                </a:solidFill>
                <a:latin typeface="Roboto Condensed"/>
              </a:rPr>
              <a:t>Recommendation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528D7411-DE27-5F49-96A6-0C91B6BD960C}"/>
              </a:ext>
            </a:extLst>
          </p:cNvPr>
          <p:cNvSpPr txBox="1"/>
          <p:nvPr/>
        </p:nvSpPr>
        <p:spPr>
          <a:xfrm>
            <a:off x="8391538" y="4009100"/>
            <a:ext cx="390352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117560"/>
            <a:r>
              <a:rPr lang="en-US" b="1" dirty="0">
                <a:solidFill>
                  <a:srgbClr val="6B6B6B"/>
                </a:solidFill>
                <a:latin typeface="Roboto Condensed"/>
              </a:rPr>
              <a:t>Timeline and Risk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7726E003-FCCE-3043-BA7A-FA2AFA48C829}"/>
              </a:ext>
            </a:extLst>
          </p:cNvPr>
          <p:cNvSpPr txBox="1"/>
          <p:nvPr/>
        </p:nvSpPr>
        <p:spPr>
          <a:xfrm>
            <a:off x="7528006" y="2356615"/>
            <a:ext cx="390352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117560"/>
            <a:r>
              <a:rPr lang="en-US" b="1" dirty="0">
                <a:solidFill>
                  <a:srgbClr val="6B6B6B"/>
                </a:solidFill>
                <a:latin typeface="Roboto Condensed"/>
              </a:rPr>
              <a:t>Solution 2</a:t>
            </a:r>
            <a:endParaRPr lang="en-US" sz="2000" b="1" dirty="0">
              <a:solidFill>
                <a:srgbClr val="6B6B6B"/>
              </a:solidFill>
              <a:latin typeface="Roboto Condensed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E9B73752-8AAF-4CC7-B0CA-55B9964D24FC}"/>
              </a:ext>
            </a:extLst>
          </p:cNvPr>
          <p:cNvSpPr/>
          <p:nvPr/>
        </p:nvSpPr>
        <p:spPr>
          <a:xfrm>
            <a:off x="0" y="264294"/>
            <a:ext cx="1757680" cy="741204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1418C1EF-0FAF-48A1-8FA0-FA32E2879E44}"/>
              </a:ext>
            </a:extLst>
          </p:cNvPr>
          <p:cNvSpPr/>
          <p:nvPr/>
        </p:nvSpPr>
        <p:spPr>
          <a:xfrm>
            <a:off x="8575041" y="293170"/>
            <a:ext cx="3616959" cy="741204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362879F-E4C7-4367-8514-A7DEFF892DE7}"/>
              </a:ext>
            </a:extLst>
          </p:cNvPr>
          <p:cNvSpPr/>
          <p:nvPr/>
        </p:nvSpPr>
        <p:spPr>
          <a:xfrm>
            <a:off x="1757681" y="293170"/>
            <a:ext cx="6817360" cy="74120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dirty="0">
                <a:solidFill>
                  <a:schemeClr val="tx1"/>
                </a:solidFill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40519765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" name="Rectangle 88">
            <a:extLst>
              <a:ext uri="{FF2B5EF4-FFF2-40B4-BE49-F238E27FC236}">
                <a16:creationId xmlns:a16="http://schemas.microsoft.com/office/drawing/2014/main" id="{5645CAB4-58B9-4E38-919C-7F03D46C0FAD}"/>
              </a:ext>
            </a:extLst>
          </p:cNvPr>
          <p:cNvSpPr/>
          <p:nvPr/>
        </p:nvSpPr>
        <p:spPr>
          <a:xfrm>
            <a:off x="0" y="264294"/>
            <a:ext cx="1757680" cy="741204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id="{2004A599-D371-458F-B339-53905C462A9D}"/>
              </a:ext>
            </a:extLst>
          </p:cNvPr>
          <p:cNvSpPr/>
          <p:nvPr/>
        </p:nvSpPr>
        <p:spPr>
          <a:xfrm>
            <a:off x="8575041" y="293170"/>
            <a:ext cx="3616959" cy="741204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1" name="Rectangle 90">
            <a:extLst>
              <a:ext uri="{FF2B5EF4-FFF2-40B4-BE49-F238E27FC236}">
                <a16:creationId xmlns:a16="http://schemas.microsoft.com/office/drawing/2014/main" id="{B127207B-8279-4E38-B3AE-61395716D7C7}"/>
              </a:ext>
            </a:extLst>
          </p:cNvPr>
          <p:cNvSpPr/>
          <p:nvPr/>
        </p:nvSpPr>
        <p:spPr>
          <a:xfrm>
            <a:off x="1757681" y="293170"/>
            <a:ext cx="6817360" cy="74120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dirty="0">
                <a:solidFill>
                  <a:schemeClr val="tx1"/>
                </a:solidFill>
              </a:rPr>
              <a:t>Introduction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689C57A9-30A9-483C-B9EA-21FACA1F9063}"/>
              </a:ext>
            </a:extLst>
          </p:cNvPr>
          <p:cNvGrpSpPr/>
          <p:nvPr/>
        </p:nvGrpSpPr>
        <p:grpSpPr>
          <a:xfrm>
            <a:off x="1125810" y="1598103"/>
            <a:ext cx="2926080" cy="4663440"/>
            <a:chOff x="768002" y="1349625"/>
            <a:chExt cx="2852245" cy="4663440"/>
          </a:xfrm>
        </p:grpSpPr>
        <p:grpSp>
          <p:nvGrpSpPr>
            <p:cNvPr id="75" name="Group 74">
              <a:extLst>
                <a:ext uri="{FF2B5EF4-FFF2-40B4-BE49-F238E27FC236}">
                  <a16:creationId xmlns:a16="http://schemas.microsoft.com/office/drawing/2014/main" id="{9C00D9CA-A436-437F-8647-D714E175E007}"/>
                </a:ext>
              </a:extLst>
            </p:cNvPr>
            <p:cNvGrpSpPr/>
            <p:nvPr/>
          </p:nvGrpSpPr>
          <p:grpSpPr>
            <a:xfrm>
              <a:off x="768002" y="1349625"/>
              <a:ext cx="2852245" cy="4663440"/>
              <a:chOff x="184534" y="1298495"/>
              <a:chExt cx="2852245" cy="4663440"/>
            </a:xfrm>
          </p:grpSpPr>
          <p:sp>
            <p:nvSpPr>
              <p:cNvPr id="76" name="Trapezoid 75">
                <a:extLst>
                  <a:ext uri="{FF2B5EF4-FFF2-40B4-BE49-F238E27FC236}">
                    <a16:creationId xmlns:a16="http://schemas.microsoft.com/office/drawing/2014/main" id="{8968E2BE-8A77-4B06-B969-78AA30617B35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/>
              <p:nvPr/>
            </p:nvSpPr>
            <p:spPr>
              <a:xfrm rot="5400000">
                <a:off x="-721063" y="2204092"/>
                <a:ext cx="4663440" cy="2852245"/>
              </a:xfrm>
              <a:prstGeom prst="trapezoid">
                <a:avLst/>
              </a:prstGeom>
              <a:solidFill>
                <a:schemeClr val="accent3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7" name="Rectangle 76">
                <a:extLst>
                  <a:ext uri="{FF2B5EF4-FFF2-40B4-BE49-F238E27FC236}">
                    <a16:creationId xmlns:a16="http://schemas.microsoft.com/office/drawing/2014/main" id="{7261EEA9-0639-4CD5-A375-392CAF758EEB}"/>
                  </a:ext>
                </a:extLst>
              </p:cNvPr>
              <p:cNvSpPr/>
              <p:nvPr/>
            </p:nvSpPr>
            <p:spPr>
              <a:xfrm>
                <a:off x="407707" y="3298850"/>
                <a:ext cx="2318131" cy="1938992"/>
              </a:xfrm>
              <a:prstGeom prst="rect">
                <a:avLst/>
              </a:prstGeom>
            </p:spPr>
            <p:txBody>
              <a:bodyPr wrap="square" lIns="0" tIns="0" rIns="0" bIns="0">
                <a:spAutoFit/>
              </a:bodyPr>
              <a:lstStyle/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US" dirty="0">
                    <a:solidFill>
                      <a:schemeClr val="bg1"/>
                    </a:solidFill>
                  </a:rPr>
                  <a:t>One of the largest peer-to-peer user classifieds website 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endParaRPr lang="en-US" dirty="0">
                  <a:solidFill>
                    <a:schemeClr val="bg1"/>
                  </a:solidFill>
                </a:endParaRP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US" dirty="0">
                    <a:solidFill>
                      <a:schemeClr val="bg1"/>
                    </a:solidFill>
                  </a:rPr>
                  <a:t>Presence across more than 500 cities in 70 countries</a:t>
                </a:r>
              </a:p>
            </p:txBody>
          </p:sp>
        </p:grpSp>
        <p:pic>
          <p:nvPicPr>
            <p:cNvPr id="105" name="Picture 4" descr="https://i2.wp.com/noblepawnbroker.com/wp-content/uploads/2019/02/craigslist-logo-transparent.png?fit=300%2C225&amp;ssl=1">
              <a:extLst>
                <a:ext uri="{FF2B5EF4-FFF2-40B4-BE49-F238E27FC236}">
                  <a16:creationId xmlns:a16="http://schemas.microsoft.com/office/drawing/2014/main" id="{209FC45A-C653-4ADF-A990-B9D30B9F2F9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artisticPhotocopy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55563" y="1504287"/>
              <a:ext cx="2098709" cy="157403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E250F53E-90B9-47FB-A5D1-4678ACD94D10}"/>
              </a:ext>
            </a:extLst>
          </p:cNvPr>
          <p:cNvGrpSpPr/>
          <p:nvPr/>
        </p:nvGrpSpPr>
        <p:grpSpPr>
          <a:xfrm>
            <a:off x="4511825" y="1556775"/>
            <a:ext cx="3024442" cy="4663441"/>
            <a:chOff x="4040021" y="1308297"/>
            <a:chExt cx="2946887" cy="4663441"/>
          </a:xfrm>
        </p:grpSpPr>
        <p:grpSp>
          <p:nvGrpSpPr>
            <p:cNvPr id="80" name="Group 79">
              <a:extLst>
                <a:ext uri="{FF2B5EF4-FFF2-40B4-BE49-F238E27FC236}">
                  <a16:creationId xmlns:a16="http://schemas.microsoft.com/office/drawing/2014/main" id="{A1877461-A3CA-4394-8498-5CB2BBE0C405}"/>
                </a:ext>
              </a:extLst>
            </p:cNvPr>
            <p:cNvGrpSpPr/>
            <p:nvPr/>
          </p:nvGrpSpPr>
          <p:grpSpPr>
            <a:xfrm>
              <a:off x="4040021" y="1308297"/>
              <a:ext cx="2946887" cy="4663441"/>
              <a:chOff x="3143002" y="1298494"/>
              <a:chExt cx="2946887" cy="4663441"/>
            </a:xfrm>
            <a:solidFill>
              <a:schemeClr val="tx2"/>
            </a:solidFill>
          </p:grpSpPr>
          <p:sp>
            <p:nvSpPr>
              <p:cNvPr id="81" name="Trapezoid 80">
                <a:extLst>
                  <a:ext uri="{FF2B5EF4-FFF2-40B4-BE49-F238E27FC236}">
                    <a16:creationId xmlns:a16="http://schemas.microsoft.com/office/drawing/2014/main" id="{4346719F-1B1C-47FF-89C1-9FD4D8741975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/>
              <p:nvPr/>
            </p:nvSpPr>
            <p:spPr>
              <a:xfrm rot="5400000">
                <a:off x="2237404" y="2204092"/>
                <a:ext cx="4663441" cy="2852245"/>
              </a:xfrm>
              <a:prstGeom prst="trapezoid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2" name="Rectangle 81">
                <a:extLst>
                  <a:ext uri="{FF2B5EF4-FFF2-40B4-BE49-F238E27FC236}">
                    <a16:creationId xmlns:a16="http://schemas.microsoft.com/office/drawing/2014/main" id="{ED46E279-402B-490E-B891-269C3EB8AF3C}"/>
                  </a:ext>
                </a:extLst>
              </p:cNvPr>
              <p:cNvSpPr/>
              <p:nvPr/>
            </p:nvSpPr>
            <p:spPr>
              <a:xfrm>
                <a:off x="3252060" y="2674382"/>
                <a:ext cx="2433822" cy="246221"/>
              </a:xfrm>
              <a:prstGeom prst="rect">
                <a:avLst/>
              </a:prstGeom>
              <a:grpFill/>
            </p:spPr>
            <p:txBody>
              <a:bodyPr wrap="square" lIns="0" tIns="0" rIns="0" bIns="0">
                <a:spAutoFit/>
              </a:bodyPr>
              <a:lstStyle/>
              <a:p>
                <a:pPr algn="ctr"/>
                <a:r>
                  <a:rPr lang="en-US" sz="1600" b="1" dirty="0">
                    <a:solidFill>
                      <a:schemeClr val="bg1"/>
                    </a:solidFill>
                  </a:rPr>
                  <a:t>Problem Statement</a:t>
                </a:r>
              </a:p>
            </p:txBody>
          </p:sp>
          <p:sp>
            <p:nvSpPr>
              <p:cNvPr id="88" name="Rectangle 87">
                <a:extLst>
                  <a:ext uri="{FF2B5EF4-FFF2-40B4-BE49-F238E27FC236}">
                    <a16:creationId xmlns:a16="http://schemas.microsoft.com/office/drawing/2014/main" id="{7A8AE3EA-D142-4763-9B3C-C22329A351E0}"/>
                  </a:ext>
                </a:extLst>
              </p:cNvPr>
              <p:cNvSpPr/>
              <p:nvPr/>
            </p:nvSpPr>
            <p:spPr>
              <a:xfrm>
                <a:off x="3238841" y="3340086"/>
                <a:ext cx="2851048" cy="1705595"/>
              </a:xfrm>
              <a:prstGeom prst="rect">
                <a:avLst/>
              </a:prstGeom>
              <a:noFill/>
            </p:spPr>
            <p:txBody>
              <a:bodyPr wrap="square" lIns="0" tIns="0" rIns="0" bIns="0" anchor="t">
                <a:spAutoFit/>
              </a:bodyPr>
              <a:lstStyle/>
              <a:p>
                <a:pPr marL="285750" indent="-285750">
                  <a:lnSpc>
                    <a:spcPts val="1900"/>
                  </a:lnSpc>
                  <a:buFont typeface="Arial" panose="020B0604020202020204" pitchFamily="34" charset="0"/>
                  <a:buChar char="•"/>
                </a:pPr>
                <a:r>
                  <a:rPr lang="en-US" dirty="0">
                    <a:solidFill>
                      <a:schemeClr val="bg1"/>
                    </a:solidFill>
                  </a:rPr>
                  <a:t>‘Best of Craigslist’ contains posts nominated by users those are not </a:t>
                </a:r>
                <a:r>
                  <a:rPr lang="en-US" b="1" dirty="0">
                    <a:solidFill>
                      <a:schemeClr val="bg1"/>
                    </a:solidFill>
                  </a:rPr>
                  <a:t>‘Best post’ but amusement posts</a:t>
                </a:r>
              </a:p>
              <a:p>
                <a:pPr lvl="1">
                  <a:lnSpc>
                    <a:spcPts val="1900"/>
                  </a:lnSpc>
                </a:pPr>
                <a:endParaRPr lang="en-US" dirty="0">
                  <a:solidFill>
                    <a:schemeClr val="bg1"/>
                  </a:solidFill>
                </a:endParaRPr>
              </a:p>
              <a:p>
                <a:pPr marL="285750" indent="-285750">
                  <a:lnSpc>
                    <a:spcPts val="1900"/>
                  </a:lnSpc>
                  <a:buFont typeface="Arial" panose="020B0604020202020204" pitchFamily="34" charset="0"/>
                  <a:buChar char="•"/>
                </a:pPr>
                <a:r>
                  <a:rPr lang="en-US" dirty="0">
                    <a:solidFill>
                      <a:schemeClr val="bg1"/>
                    </a:solidFill>
                  </a:rPr>
                  <a:t>No provision for &lt;18years</a:t>
                </a:r>
              </a:p>
              <a:p>
                <a:pPr>
                  <a:lnSpc>
                    <a:spcPts val="1900"/>
                  </a:lnSpc>
                </a:pPr>
                <a:endParaRPr lang="en-US" dirty="0">
                  <a:solidFill>
                    <a:schemeClr val="bg1"/>
                  </a:solidFill>
                </a:endParaRPr>
              </a:p>
            </p:txBody>
          </p:sp>
        </p:grpSp>
        <p:pic>
          <p:nvPicPr>
            <p:cNvPr id="56324" name="Picture 4" descr="Image result for question mark icon">
              <a:extLst>
                <a:ext uri="{FF2B5EF4-FFF2-40B4-BE49-F238E27FC236}">
                  <a16:creationId xmlns:a16="http://schemas.microsoft.com/office/drawing/2014/main" id="{41AE06C7-CC99-4CDE-BD46-5EB5C65C7E5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lum bright="70000" contrast="-7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913586" y="1800605"/>
              <a:ext cx="890454" cy="89045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B55CBD8A-072B-4BB9-A1CC-A9939DE8D5F5}"/>
              </a:ext>
            </a:extLst>
          </p:cNvPr>
          <p:cNvGrpSpPr/>
          <p:nvPr/>
        </p:nvGrpSpPr>
        <p:grpSpPr>
          <a:xfrm>
            <a:off x="7972901" y="1646089"/>
            <a:ext cx="2926080" cy="4663441"/>
            <a:chOff x="7615093" y="1397611"/>
            <a:chExt cx="2852245" cy="4663441"/>
          </a:xfrm>
          <a:solidFill>
            <a:schemeClr val="accent2"/>
          </a:solidFill>
        </p:grpSpPr>
        <p:grpSp>
          <p:nvGrpSpPr>
            <p:cNvPr id="93" name="Group 92">
              <a:extLst>
                <a:ext uri="{FF2B5EF4-FFF2-40B4-BE49-F238E27FC236}">
                  <a16:creationId xmlns:a16="http://schemas.microsoft.com/office/drawing/2014/main" id="{BE50C8B6-4AEA-47D6-9C4D-3C2A34A701F8}"/>
                </a:ext>
              </a:extLst>
            </p:cNvPr>
            <p:cNvGrpSpPr/>
            <p:nvPr/>
          </p:nvGrpSpPr>
          <p:grpSpPr>
            <a:xfrm>
              <a:off x="7615093" y="1397611"/>
              <a:ext cx="2852245" cy="4663441"/>
              <a:chOff x="6131279" y="1298496"/>
              <a:chExt cx="2852245" cy="4663441"/>
            </a:xfrm>
            <a:grpFill/>
          </p:grpSpPr>
          <p:sp>
            <p:nvSpPr>
              <p:cNvPr id="94" name="Trapezoid 93">
                <a:extLst>
                  <a:ext uri="{FF2B5EF4-FFF2-40B4-BE49-F238E27FC236}">
                    <a16:creationId xmlns:a16="http://schemas.microsoft.com/office/drawing/2014/main" id="{A0012EAF-DE37-4845-A295-F085B4683250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/>
              <p:nvPr/>
            </p:nvSpPr>
            <p:spPr>
              <a:xfrm rot="5400000">
                <a:off x="5225681" y="2204094"/>
                <a:ext cx="4663441" cy="2852245"/>
              </a:xfrm>
              <a:prstGeom prst="trapezoid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95" name="Rectangle 94">
                <a:extLst>
                  <a:ext uri="{FF2B5EF4-FFF2-40B4-BE49-F238E27FC236}">
                    <a16:creationId xmlns:a16="http://schemas.microsoft.com/office/drawing/2014/main" id="{0BBAB246-5909-48DC-93B5-820064B54E29}"/>
                  </a:ext>
                </a:extLst>
              </p:cNvPr>
              <p:cNvSpPr/>
              <p:nvPr/>
            </p:nvSpPr>
            <p:spPr>
              <a:xfrm>
                <a:off x="6539135" y="2667584"/>
                <a:ext cx="1913321" cy="246221"/>
              </a:xfrm>
              <a:prstGeom prst="rect">
                <a:avLst/>
              </a:prstGeom>
              <a:grpFill/>
            </p:spPr>
            <p:txBody>
              <a:bodyPr wrap="square" lIns="0" tIns="0" rIns="0" bIns="0">
                <a:spAutoFit/>
              </a:bodyPr>
              <a:lstStyle/>
              <a:p>
                <a:pPr algn="ctr"/>
                <a:r>
                  <a:rPr lang="en-US" sz="1600" b="1" dirty="0">
                    <a:solidFill>
                      <a:schemeClr val="bg1"/>
                    </a:solidFill>
                  </a:rPr>
                  <a:t>Project Objectives</a:t>
                </a:r>
              </a:p>
            </p:txBody>
          </p:sp>
          <p:sp>
            <p:nvSpPr>
              <p:cNvPr id="100" name="Rectangle 99">
                <a:extLst>
                  <a:ext uri="{FF2B5EF4-FFF2-40B4-BE49-F238E27FC236}">
                    <a16:creationId xmlns:a16="http://schemas.microsoft.com/office/drawing/2014/main" id="{1E3A0878-2928-4F07-AD31-4ED14E3D05AB}"/>
                  </a:ext>
                </a:extLst>
              </p:cNvPr>
              <p:cNvSpPr/>
              <p:nvPr/>
            </p:nvSpPr>
            <p:spPr>
              <a:xfrm>
                <a:off x="6406706" y="3249010"/>
                <a:ext cx="2516635" cy="1218282"/>
              </a:xfrm>
              <a:prstGeom prst="rect">
                <a:avLst/>
              </a:prstGeom>
              <a:grpFill/>
            </p:spPr>
            <p:txBody>
              <a:bodyPr wrap="square" lIns="0" tIns="0" rIns="0" bIns="0" anchor="t">
                <a:spAutoFit/>
              </a:bodyPr>
              <a:lstStyle/>
              <a:p>
                <a:pPr marL="285750" indent="-285750">
                  <a:lnSpc>
                    <a:spcPts val="1900"/>
                  </a:lnSpc>
                  <a:buFont typeface="Arial" panose="020B0604020202020204" pitchFamily="34" charset="0"/>
                  <a:buChar char="•"/>
                </a:pPr>
                <a:r>
                  <a:rPr lang="en-US" dirty="0">
                    <a:solidFill>
                      <a:schemeClr val="bg1"/>
                    </a:solidFill>
                  </a:rPr>
                  <a:t>Improve the “Best of Craigslist section” </a:t>
                </a:r>
              </a:p>
              <a:p>
                <a:pPr marL="285750" indent="-285750">
                  <a:lnSpc>
                    <a:spcPts val="1900"/>
                  </a:lnSpc>
                  <a:buFont typeface="Arial" panose="020B0604020202020204" pitchFamily="34" charset="0"/>
                  <a:buChar char="•"/>
                </a:pPr>
                <a:endParaRPr lang="en-US" dirty="0">
                  <a:solidFill>
                    <a:schemeClr val="bg1"/>
                  </a:solidFill>
                </a:endParaRPr>
              </a:p>
              <a:p>
                <a:pPr marL="285750" indent="-285750">
                  <a:lnSpc>
                    <a:spcPts val="1900"/>
                  </a:lnSpc>
                  <a:buFont typeface="Arial" panose="020B0604020202020204" pitchFamily="34" charset="0"/>
                  <a:buChar char="•"/>
                </a:pPr>
                <a:endParaRPr lang="en-US" dirty="0">
                  <a:solidFill>
                    <a:schemeClr val="bg1"/>
                  </a:solidFill>
                </a:endParaRPr>
              </a:p>
              <a:p>
                <a:pPr marL="285750" indent="-285750">
                  <a:lnSpc>
                    <a:spcPts val="1900"/>
                  </a:lnSpc>
                  <a:buFont typeface="Arial" panose="020B0604020202020204" pitchFamily="34" charset="0"/>
                  <a:buChar char="•"/>
                </a:pPr>
                <a:r>
                  <a:rPr lang="en-US" dirty="0">
                    <a:solidFill>
                      <a:schemeClr val="bg1"/>
                    </a:solidFill>
                  </a:rPr>
                  <a:t>Mature content filter</a:t>
                </a:r>
              </a:p>
            </p:txBody>
          </p:sp>
        </p:grpSp>
        <p:pic>
          <p:nvPicPr>
            <p:cNvPr id="56326" name="Picture 6" descr="Image result for objectives icon">
              <a:extLst>
                <a:ext uri="{FF2B5EF4-FFF2-40B4-BE49-F238E27FC236}">
                  <a16:creationId xmlns:a16="http://schemas.microsoft.com/office/drawing/2014/main" id="{9F9E1CAB-8905-4BD1-9AF9-15DE5E29DF0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lum bright="70000" contrast="-70000"/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colorTemperature colorTemp="112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507179" y="1870648"/>
              <a:ext cx="944861" cy="944861"/>
            </a:xfrm>
            <a:prstGeom prst="rect">
              <a:avLst/>
            </a:prstGeom>
            <a:grpFill/>
          </p:spPr>
        </p:pic>
      </p:grpSp>
      <p:sp>
        <p:nvSpPr>
          <p:cNvPr id="23" name="Rectangle 22">
            <a:extLst>
              <a:ext uri="{FF2B5EF4-FFF2-40B4-BE49-F238E27FC236}">
                <a16:creationId xmlns:a16="http://schemas.microsoft.com/office/drawing/2014/main" id="{FFBBEA5D-BABC-B74C-A687-D19609177D8B}"/>
              </a:ext>
            </a:extLst>
          </p:cNvPr>
          <p:cNvSpPr/>
          <p:nvPr/>
        </p:nvSpPr>
        <p:spPr>
          <a:xfrm>
            <a:off x="1853300" y="2896911"/>
            <a:ext cx="2378140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en-US" sz="1600" b="1" dirty="0">
                <a:solidFill>
                  <a:schemeClr val="bg1"/>
                </a:solidFill>
              </a:rPr>
              <a:t>Background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41610039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0B84EC8B-A346-4F88-87EB-43028C15F629}"/>
              </a:ext>
            </a:extLst>
          </p:cNvPr>
          <p:cNvSpPr/>
          <p:nvPr/>
        </p:nvSpPr>
        <p:spPr>
          <a:xfrm>
            <a:off x="431027" y="1462598"/>
            <a:ext cx="5417506" cy="4393678"/>
          </a:xfrm>
          <a:prstGeom prst="roundRect">
            <a:avLst/>
          </a:prstGeom>
          <a:noFill/>
          <a:ln>
            <a:solidFill>
              <a:schemeClr val="bg1">
                <a:lumMod val="65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B27E6107-222E-9040-987F-0A3B402F57F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53998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4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B27E6107-222E-9040-987F-0A3B402F57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89BF0841-3074-6C49-8BE5-4F262116188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400">
              <a:latin typeface="Calibri Light" panose="020F0302020204030204" pitchFamily="34" charset="0"/>
              <a:ea typeface="+mj-ea"/>
              <a:sym typeface="Calibri Light" panose="020F0302020204030204" pitchFamily="34" charset="0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40438528-1219-43CE-935C-1485FC31D375}"/>
              </a:ext>
            </a:extLst>
          </p:cNvPr>
          <p:cNvPicPr>
            <a:picLocks noChangeAspect="1"/>
          </p:cNvPicPr>
          <p:nvPr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745099" y="3368556"/>
            <a:ext cx="4789361" cy="2279989"/>
          </a:xfrm>
          <a:prstGeom prst="rect">
            <a:avLst/>
          </a:prstGeom>
          <a:ln w="3175">
            <a:solidFill>
              <a:schemeClr val="bg2">
                <a:lumMod val="90000"/>
              </a:schemeClr>
            </a:solidFill>
          </a:ln>
        </p:spPr>
      </p:pic>
      <p:sp>
        <p:nvSpPr>
          <p:cNvPr id="12" name="Rectangle 2">
            <a:extLst>
              <a:ext uri="{FF2B5EF4-FFF2-40B4-BE49-F238E27FC236}">
                <a16:creationId xmlns:a16="http://schemas.microsoft.com/office/drawing/2014/main" id="{5DF30811-AC9E-43D4-A4CF-089DE2E01C92}"/>
              </a:ext>
            </a:extLst>
          </p:cNvPr>
          <p:cNvSpPr/>
          <p:nvPr/>
        </p:nvSpPr>
        <p:spPr>
          <a:xfrm>
            <a:off x="0" y="264294"/>
            <a:ext cx="1757680" cy="741204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30806728-DC84-4226-B451-75FAD88214F1}"/>
              </a:ext>
            </a:extLst>
          </p:cNvPr>
          <p:cNvSpPr/>
          <p:nvPr/>
        </p:nvSpPr>
        <p:spPr>
          <a:xfrm>
            <a:off x="8575041" y="293170"/>
            <a:ext cx="3616959" cy="741204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33A87AF9-FC3D-48A5-A85F-56C1AE9037D1}"/>
              </a:ext>
            </a:extLst>
          </p:cNvPr>
          <p:cNvSpPr/>
          <p:nvPr/>
        </p:nvSpPr>
        <p:spPr>
          <a:xfrm>
            <a:off x="1757681" y="293170"/>
            <a:ext cx="6817360" cy="74120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00">
              <a:solidFill>
                <a:schemeClr val="tx1"/>
              </a:solidFill>
              <a:cs typeface="Calibri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3D5CF28-EE30-43E0-86C4-7EE3F3C01F76}"/>
              </a:ext>
            </a:extLst>
          </p:cNvPr>
          <p:cNvSpPr/>
          <p:nvPr/>
        </p:nvSpPr>
        <p:spPr>
          <a:xfrm>
            <a:off x="1669999" y="268118"/>
            <a:ext cx="6817360" cy="74120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dirty="0">
                <a:solidFill>
                  <a:srgbClr val="000000"/>
                </a:solidFill>
                <a:ea typeface="+mn-lt"/>
                <a:cs typeface="+mn-lt"/>
              </a:rPr>
              <a:t>Issues with Craigslist: Qualitative</a:t>
            </a:r>
          </a:p>
        </p:txBody>
      </p: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8B9A58CF-8D2C-463E-B030-3D0AEE1BA272}"/>
              </a:ext>
            </a:extLst>
          </p:cNvPr>
          <p:cNvSpPr/>
          <p:nvPr/>
        </p:nvSpPr>
        <p:spPr>
          <a:xfrm>
            <a:off x="921629" y="1274707"/>
            <a:ext cx="4144026" cy="501042"/>
          </a:xfrm>
          <a:prstGeom prst="roundRect">
            <a:avLst/>
          </a:prstGeom>
          <a:solidFill>
            <a:srgbClr val="44536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>
                <a:solidFill>
                  <a:schemeClr val="bg1"/>
                </a:solidFill>
                <a:cs typeface="Calibri"/>
              </a:rPr>
              <a:t>Irrelevant content on "Best of Craigslist"</a:t>
            </a:r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B4B96169-7B1A-4766-A991-937782BE80C4}"/>
              </a:ext>
            </a:extLst>
          </p:cNvPr>
          <p:cNvSpPr/>
          <p:nvPr/>
        </p:nvSpPr>
        <p:spPr>
          <a:xfrm>
            <a:off x="6297382" y="1462597"/>
            <a:ext cx="5417506" cy="4393678"/>
          </a:xfrm>
          <a:prstGeom prst="roundRect">
            <a:avLst/>
          </a:prstGeom>
          <a:noFill/>
          <a:ln>
            <a:solidFill>
              <a:schemeClr val="bg1">
                <a:lumMod val="65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ectangle: Rounded Corners 23">
            <a:extLst>
              <a:ext uri="{FF2B5EF4-FFF2-40B4-BE49-F238E27FC236}">
                <a16:creationId xmlns:a16="http://schemas.microsoft.com/office/drawing/2014/main" id="{C06DB655-6935-43F9-A6CB-C837EA7A7A68}"/>
              </a:ext>
            </a:extLst>
          </p:cNvPr>
          <p:cNvSpPr/>
          <p:nvPr/>
        </p:nvSpPr>
        <p:spPr>
          <a:xfrm>
            <a:off x="7028067" y="1274707"/>
            <a:ext cx="3935259" cy="501042"/>
          </a:xfrm>
          <a:prstGeom prst="roundRect">
            <a:avLst/>
          </a:prstGeom>
          <a:solidFill>
            <a:srgbClr val="ED7D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bg1"/>
                </a:solidFill>
                <a:ea typeface="+mn-lt"/>
                <a:cs typeface="+mn-lt"/>
              </a:rPr>
              <a:t>Mature content</a:t>
            </a:r>
            <a:endParaRPr lang="en-US" dirty="0">
              <a:solidFill>
                <a:schemeClr val="bg1"/>
              </a:solidFill>
              <a:cs typeface="Calibri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70E77BAB-0055-4DA1-885C-7FEF43183E3A}"/>
              </a:ext>
            </a:extLst>
          </p:cNvPr>
          <p:cNvSpPr txBox="1"/>
          <p:nvPr/>
        </p:nvSpPr>
        <p:spPr>
          <a:xfrm>
            <a:off x="774660" y="1897303"/>
            <a:ext cx="4961122" cy="1477328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i="1" dirty="0"/>
              <a:t>Although "Best of Craigslist" is aimed towards showcasing the top deals and ads, </a:t>
            </a:r>
            <a:r>
              <a:rPr lang="en-US" sz="2400" b="1" i="1" dirty="0">
                <a:solidFill>
                  <a:srgbClr val="ED7D31"/>
                </a:solidFill>
              </a:rPr>
              <a:t>most posts here end up being catchy or funny in nature </a:t>
            </a:r>
            <a:r>
              <a:rPr lang="en-US" i="1" dirty="0"/>
              <a:t>to attract the viewers. </a:t>
            </a:r>
            <a:endParaRPr lang="en-US" i="1" dirty="0">
              <a:ea typeface="+mn-lt"/>
              <a:cs typeface="+mn-lt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503E4510-04E5-45AB-AD3B-5E434AABE498}"/>
              </a:ext>
            </a:extLst>
          </p:cNvPr>
          <p:cNvSpPr txBox="1"/>
          <p:nvPr/>
        </p:nvSpPr>
        <p:spPr>
          <a:xfrm>
            <a:off x="6651515" y="1883448"/>
            <a:ext cx="4789116" cy="1107996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i="1" dirty="0"/>
              <a:t>Customers often find themselves with </a:t>
            </a:r>
            <a:r>
              <a:rPr lang="en-US" sz="2400" b="1" i="1" dirty="0">
                <a:solidFill>
                  <a:srgbClr val="44536A"/>
                </a:solidFill>
              </a:rPr>
              <a:t>mature content</a:t>
            </a:r>
            <a:r>
              <a:rPr lang="en-US" i="1" dirty="0"/>
              <a:t>. No customization available to block those</a:t>
            </a:r>
            <a:endParaRPr lang="en-US" i="1" dirty="0">
              <a:cs typeface="Calibri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1C44CFB8-3712-4EB1-8D77-EBB4EF8D8514}"/>
              </a:ext>
            </a:extLst>
          </p:cNvPr>
          <p:cNvPicPr>
            <a:picLocks noChangeAspect="1"/>
          </p:cNvPicPr>
          <p:nvPr/>
        </p:nvPicPr>
        <p:blipFill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6797354" y="3797282"/>
            <a:ext cx="4396684" cy="1467308"/>
          </a:xfrm>
          <a:prstGeom prst="rect">
            <a:avLst/>
          </a:prstGeom>
          <a:ln w="3175">
            <a:solidFill>
              <a:schemeClr val="bg2">
                <a:lumMod val="90000"/>
              </a:schemeClr>
            </a:solidFill>
          </a:ln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2A30AB11-A34E-164E-9B27-493476639F72}"/>
              </a:ext>
            </a:extLst>
          </p:cNvPr>
          <p:cNvSpPr/>
          <p:nvPr/>
        </p:nvSpPr>
        <p:spPr>
          <a:xfrm>
            <a:off x="498567" y="5995991"/>
            <a:ext cx="11177588" cy="59002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i="1" dirty="0">
                <a:solidFill>
                  <a:schemeClr val="tx1"/>
                </a:solidFill>
                <a:ea typeface="+mn-lt"/>
                <a:cs typeface="+mn-lt"/>
              </a:rPr>
              <a:t>This leads to misinformation and bad reviews among customers</a:t>
            </a:r>
            <a:endParaRPr lang="en-US" i="1" dirty="0">
              <a:solidFill>
                <a:schemeClr val="tx1"/>
              </a:solidFill>
              <a:cs typeface="Calibri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E6C14EA1-E231-924B-A051-19046C1EC2DD}"/>
              </a:ext>
            </a:extLst>
          </p:cNvPr>
          <p:cNvSpPr/>
          <p:nvPr/>
        </p:nvSpPr>
        <p:spPr>
          <a:xfrm>
            <a:off x="9001496" y="4536374"/>
            <a:ext cx="415636" cy="181743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700" dirty="0">
                <a:solidFill>
                  <a:srgbClr val="3A3E3F"/>
                </a:solidFill>
              </a:rPr>
              <a:t>*****</a:t>
            </a:r>
          </a:p>
        </p:txBody>
      </p:sp>
    </p:spTree>
    <p:extLst>
      <p:ext uri="{BB962C8B-B14F-4D97-AF65-F5344CB8AC3E}">
        <p14:creationId xmlns:p14="http://schemas.microsoft.com/office/powerpoint/2010/main" val="40442431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 animBg="1"/>
      <p:bldP spid="24" grpId="0" animBg="1"/>
      <p:bldP spid="26" grpId="0"/>
      <p:bldP spid="5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7242BB4-CC55-5E4F-B953-2E91C620F98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8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7242BB4-CC55-5E4F-B953-2E91C620F98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D4BB957F-58F6-B543-BA8C-4225CB6D732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dirty="0">
              <a:latin typeface="Calibri Light" panose="020F0302020204030204" pitchFamily="34" charset="0"/>
              <a:ea typeface="+mj-ea"/>
              <a:sym typeface="Calibri Light" panose="020F0302020204030204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2179E17-58B6-7C43-BA34-3CB073549676}"/>
              </a:ext>
            </a:extLst>
          </p:cNvPr>
          <p:cNvSpPr/>
          <p:nvPr/>
        </p:nvSpPr>
        <p:spPr>
          <a:xfrm>
            <a:off x="498567" y="5843588"/>
            <a:ext cx="11177588" cy="59002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i="1" dirty="0">
                <a:solidFill>
                  <a:srgbClr val="000000"/>
                </a:solidFill>
              </a:rPr>
              <a:t>~20% of Craigslist's customers are discontent</a:t>
            </a:r>
            <a:endParaRPr lang="en-US" i="1" dirty="0">
              <a:solidFill>
                <a:srgbClr val="000000"/>
              </a:solidFill>
              <a:cs typeface="Calibri"/>
            </a:endParaRPr>
          </a:p>
        </p:txBody>
      </p:sp>
      <p:sp>
        <p:nvSpPr>
          <p:cNvPr id="12" name="Rectangle 2">
            <a:extLst>
              <a:ext uri="{FF2B5EF4-FFF2-40B4-BE49-F238E27FC236}">
                <a16:creationId xmlns:a16="http://schemas.microsoft.com/office/drawing/2014/main" id="{BB486221-FF12-4CFF-8CFB-F6CFD1DDFCD3}"/>
              </a:ext>
            </a:extLst>
          </p:cNvPr>
          <p:cNvSpPr/>
          <p:nvPr/>
        </p:nvSpPr>
        <p:spPr>
          <a:xfrm>
            <a:off x="0" y="264294"/>
            <a:ext cx="1757680" cy="741204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42A1FCEE-B991-4AA3-B55F-7465E0ED4B92}"/>
              </a:ext>
            </a:extLst>
          </p:cNvPr>
          <p:cNvSpPr/>
          <p:nvPr/>
        </p:nvSpPr>
        <p:spPr>
          <a:xfrm>
            <a:off x="8575041" y="293170"/>
            <a:ext cx="3616959" cy="741204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93BD67E5-03EA-402A-B128-EA1FE055B589}"/>
              </a:ext>
            </a:extLst>
          </p:cNvPr>
          <p:cNvSpPr/>
          <p:nvPr/>
        </p:nvSpPr>
        <p:spPr>
          <a:xfrm>
            <a:off x="1669999" y="268118"/>
            <a:ext cx="6817360" cy="74120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dirty="0">
                <a:solidFill>
                  <a:srgbClr val="000000"/>
                </a:solidFill>
                <a:ea typeface="+mn-lt"/>
                <a:cs typeface="+mn-lt"/>
              </a:rPr>
              <a:t>Validate the issues: Quantitative </a:t>
            </a:r>
            <a:r>
              <a:rPr lang="en-US" sz="2800" i="1" dirty="0">
                <a:solidFill>
                  <a:srgbClr val="000000"/>
                </a:solidFill>
                <a:ea typeface="+mn-lt"/>
                <a:cs typeface="+mn-lt"/>
              </a:rPr>
              <a:t>(Twitter)</a:t>
            </a:r>
            <a:endParaRPr lang="en-US" i="1" dirty="0">
              <a:cs typeface="Calibri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475CD48F-7EB9-4596-8EEC-B535AA46808E}"/>
              </a:ext>
            </a:extLst>
          </p:cNvPr>
          <p:cNvSpPr/>
          <p:nvPr/>
        </p:nvSpPr>
        <p:spPr>
          <a:xfrm>
            <a:off x="381000" y="6564829"/>
            <a:ext cx="11284131" cy="23226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800" i="1" dirty="0">
                <a:solidFill>
                  <a:srgbClr val="000000"/>
                </a:solidFill>
                <a:cs typeface="Calibri"/>
              </a:rPr>
              <a:t> Source: Twitter								      						Numbers and WordCloud in the slide might change based on the changes in the tweets on the internet</a:t>
            </a:r>
            <a:endParaRPr lang="en-US" sz="800" i="1" dirty="0">
              <a:solidFill>
                <a:srgbClr val="000000"/>
              </a:solidFill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88C1E1CF-A235-8042-B5D1-6CE599F43AE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911622" y="2563287"/>
            <a:ext cx="4216400" cy="2095500"/>
          </a:xfrm>
          <a:prstGeom prst="rect">
            <a:avLst/>
          </a:prstGeom>
        </p:spPr>
      </p:pic>
      <p:graphicFrame>
        <p:nvGraphicFramePr>
          <p:cNvPr id="3" name="Chart 2">
            <a:extLst>
              <a:ext uri="{FF2B5EF4-FFF2-40B4-BE49-F238E27FC236}">
                <a16:creationId xmlns:a16="http://schemas.microsoft.com/office/drawing/2014/main" id="{B29FC9D8-4047-AC43-9516-DA11486768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920956105"/>
              </p:ext>
            </p:extLst>
          </p:nvPr>
        </p:nvGraphicFramePr>
        <p:xfrm>
          <a:off x="381000" y="1305844"/>
          <a:ext cx="5715000" cy="43064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13" name="Rectangle: Rounded Corners 41">
            <a:extLst>
              <a:ext uri="{FF2B5EF4-FFF2-40B4-BE49-F238E27FC236}">
                <a16:creationId xmlns:a16="http://schemas.microsoft.com/office/drawing/2014/main" id="{1F0DBAAF-769C-A64D-93B1-9B1BF5BCB94B}"/>
              </a:ext>
            </a:extLst>
          </p:cNvPr>
          <p:cNvSpPr/>
          <p:nvPr/>
        </p:nvSpPr>
        <p:spPr>
          <a:xfrm>
            <a:off x="6375866" y="1363300"/>
            <a:ext cx="4904141" cy="803753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>
                <a:solidFill>
                  <a:srgbClr val="59595A"/>
                </a:solidFill>
                <a:cs typeface="Calibri"/>
              </a:rPr>
              <a:t>WordCloud - Craigslist reviews</a:t>
            </a:r>
          </a:p>
        </p:txBody>
      </p:sp>
    </p:spTree>
    <p:extLst>
      <p:ext uri="{BB962C8B-B14F-4D97-AF65-F5344CB8AC3E}">
        <p14:creationId xmlns:p14="http://schemas.microsoft.com/office/powerpoint/2010/main" val="163733986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13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468" y="265238"/>
          <a:ext cx="1465" cy="146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10" name="Object 9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468" y="265238"/>
                        <a:ext cx="1465" cy="146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>
            <p:custDataLst>
              <p:tags r:id="rId3"/>
            </p:custDataLst>
          </p:nvPr>
        </p:nvSpPr>
        <p:spPr bwMode="auto">
          <a:xfrm>
            <a:off x="1524000" y="263769"/>
            <a:ext cx="146538" cy="146538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914400"/>
            <a:endParaRPr lang="en-US" sz="2000" b="1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0" name="Block Arc 19">
            <a:extLst>
              <a:ext uri="{FF2B5EF4-FFF2-40B4-BE49-F238E27FC236}">
                <a16:creationId xmlns:a16="http://schemas.microsoft.com/office/drawing/2014/main" id="{2AF7F88E-4CC1-D94C-9A06-AA122BE3C566}"/>
              </a:ext>
            </a:extLst>
          </p:cNvPr>
          <p:cNvSpPr/>
          <p:nvPr/>
        </p:nvSpPr>
        <p:spPr>
          <a:xfrm>
            <a:off x="3340442" y="2300655"/>
            <a:ext cx="4942662" cy="4893334"/>
          </a:xfrm>
          <a:prstGeom prst="blockArc">
            <a:avLst>
              <a:gd name="adj1" fmla="val 10800000"/>
              <a:gd name="adj2" fmla="val 14180984"/>
              <a:gd name="adj3" fmla="val 25141"/>
            </a:avLst>
          </a:prstGeom>
          <a:solidFill>
            <a:srgbClr val="ED7D31"/>
          </a:solidFill>
          <a:ln>
            <a:noFill/>
          </a:ln>
          <a:effectLst>
            <a:innerShdw blurRad="114300">
              <a:prstClr val="black"/>
            </a:innerShdw>
          </a:effectLst>
          <a:scene3d>
            <a:camera prst="orthographicFront"/>
            <a:lightRig rig="threePt" dir="t"/>
          </a:scene3d>
          <a:sp3d contourW="12700">
            <a:contourClr>
              <a:schemeClr val="bg1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950"/>
            <a:endParaRPr lang="en-US" sz="1463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22" name="Block Arc 21">
            <a:extLst>
              <a:ext uri="{FF2B5EF4-FFF2-40B4-BE49-F238E27FC236}">
                <a16:creationId xmlns:a16="http://schemas.microsoft.com/office/drawing/2014/main" id="{CCA92EA2-1A46-5342-A234-B898ADB764D2}"/>
              </a:ext>
            </a:extLst>
          </p:cNvPr>
          <p:cNvSpPr/>
          <p:nvPr/>
        </p:nvSpPr>
        <p:spPr>
          <a:xfrm>
            <a:off x="3340442" y="2309839"/>
            <a:ext cx="4942662" cy="4893334"/>
          </a:xfrm>
          <a:prstGeom prst="blockArc">
            <a:avLst>
              <a:gd name="adj1" fmla="val 14197245"/>
              <a:gd name="adj2" fmla="val 0"/>
              <a:gd name="adj3" fmla="val 25000"/>
            </a:avLst>
          </a:prstGeom>
          <a:solidFill>
            <a:srgbClr val="3E4D62"/>
          </a:solidFill>
          <a:ln>
            <a:noFill/>
          </a:ln>
          <a:effectLst>
            <a:innerShdw blurRad="114300">
              <a:prstClr val="black"/>
            </a:innerShdw>
          </a:effectLst>
          <a:scene3d>
            <a:camera prst="orthographicFront"/>
            <a:lightRig rig="threePt" dir="t"/>
          </a:scene3d>
          <a:sp3d contourW="12700">
            <a:contourClr>
              <a:schemeClr val="bg1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950"/>
            <a:endParaRPr lang="en-US" sz="1463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21" name="Freeform 20">
            <a:extLst>
              <a:ext uri="{FF2B5EF4-FFF2-40B4-BE49-F238E27FC236}">
                <a16:creationId xmlns:a16="http://schemas.microsoft.com/office/drawing/2014/main" id="{CAA5FDE6-BFF1-CC47-9544-8FBF73721DB2}"/>
              </a:ext>
            </a:extLst>
          </p:cNvPr>
          <p:cNvSpPr/>
          <p:nvPr/>
        </p:nvSpPr>
        <p:spPr>
          <a:xfrm rot="16530930">
            <a:off x="4427695" y="3253755"/>
            <a:ext cx="1620580" cy="2249355"/>
          </a:xfrm>
          <a:custGeom>
            <a:avLst/>
            <a:gdLst>
              <a:gd name="connsiteX0" fmla="*/ 1079315 w 1079315"/>
              <a:gd name="connsiteY0" fmla="*/ 0 h 1513184"/>
              <a:gd name="connsiteX1" fmla="*/ 610314 w 1079315"/>
              <a:gd name="connsiteY1" fmla="*/ 877178 h 1513184"/>
              <a:gd name="connsiteX2" fmla="*/ 624392 w 1079315"/>
              <a:gd name="connsiteY2" fmla="*/ 888793 h 1513184"/>
              <a:gd name="connsiteX3" fmla="*/ 731520 w 1079315"/>
              <a:gd name="connsiteY3" fmla="*/ 1147424 h 1513184"/>
              <a:gd name="connsiteX4" fmla="*/ 365760 w 1079315"/>
              <a:gd name="connsiteY4" fmla="*/ 1513184 h 1513184"/>
              <a:gd name="connsiteX5" fmla="*/ 0 w 1079315"/>
              <a:gd name="connsiteY5" fmla="*/ 1147424 h 1513184"/>
              <a:gd name="connsiteX6" fmla="*/ 365760 w 1079315"/>
              <a:gd name="connsiteY6" fmla="*/ 781664 h 1513184"/>
              <a:gd name="connsiteX7" fmla="*/ 439474 w 1079315"/>
              <a:gd name="connsiteY7" fmla="*/ 789095 h 1513184"/>
              <a:gd name="connsiteX8" fmla="*/ 498981 w 1079315"/>
              <a:gd name="connsiteY8" fmla="*/ 807567 h 15131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079315" h="1513184">
                <a:moveTo>
                  <a:pt x="1079315" y="0"/>
                </a:moveTo>
                <a:lnTo>
                  <a:pt x="610314" y="877178"/>
                </a:lnTo>
                <a:lnTo>
                  <a:pt x="624392" y="888793"/>
                </a:lnTo>
                <a:cubicBezTo>
                  <a:pt x="690581" y="954982"/>
                  <a:pt x="731520" y="1046422"/>
                  <a:pt x="731520" y="1147424"/>
                </a:cubicBezTo>
                <a:cubicBezTo>
                  <a:pt x="731520" y="1349428"/>
                  <a:pt x="567764" y="1513184"/>
                  <a:pt x="365760" y="1513184"/>
                </a:cubicBezTo>
                <a:cubicBezTo>
                  <a:pt x="163756" y="1513184"/>
                  <a:pt x="0" y="1349428"/>
                  <a:pt x="0" y="1147424"/>
                </a:cubicBezTo>
                <a:cubicBezTo>
                  <a:pt x="0" y="945420"/>
                  <a:pt x="163756" y="781664"/>
                  <a:pt x="365760" y="781664"/>
                </a:cubicBezTo>
                <a:cubicBezTo>
                  <a:pt x="391011" y="781664"/>
                  <a:pt x="415663" y="784223"/>
                  <a:pt x="439474" y="789095"/>
                </a:cubicBezTo>
                <a:lnTo>
                  <a:pt x="498981" y="807567"/>
                </a:lnTo>
                <a:close/>
              </a:path>
            </a:pathLst>
          </a:custGeom>
          <a:solidFill>
            <a:srgbClr val="6B6B6B"/>
          </a:solidFill>
          <a:ln>
            <a:noFill/>
          </a:ln>
          <a:effectLst>
            <a:innerShdw blurRad="63500" dist="50800" dir="13500000">
              <a:prstClr val="black">
                <a:alpha val="50000"/>
              </a:prstClr>
            </a:innerShdw>
          </a:effectLst>
          <a:scene3d>
            <a:camera prst="orthographicFront"/>
            <a:lightRig rig="threePt" dir="t"/>
          </a:scene3d>
          <a:sp3d contourW="12700">
            <a:contourClr>
              <a:schemeClr val="bg1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950"/>
            <a:endParaRPr lang="en-US" sz="1463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0AC59A8E-D806-AC43-BA82-51B9626EAB1F}"/>
              </a:ext>
            </a:extLst>
          </p:cNvPr>
          <p:cNvSpPr txBox="1"/>
          <p:nvPr/>
        </p:nvSpPr>
        <p:spPr>
          <a:xfrm>
            <a:off x="1280247" y="3734616"/>
            <a:ext cx="3903521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117560"/>
            <a:r>
              <a:rPr lang="en-US" b="1" dirty="0">
                <a:solidFill>
                  <a:srgbClr val="6B6B6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oblem Statement</a:t>
            </a:r>
          </a:p>
          <a:p>
            <a:pPr defTabSz="1117560"/>
            <a:r>
              <a:rPr lang="en-US" b="1" dirty="0">
                <a:solidFill>
                  <a:srgbClr val="6B6B6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and Objectives</a:t>
            </a:r>
          </a:p>
          <a:p>
            <a:pPr defTabSz="1117560"/>
            <a:endParaRPr lang="en-US" b="1" dirty="0">
              <a:solidFill>
                <a:srgbClr val="6B6B6B"/>
              </a:solidFill>
              <a:latin typeface="Roboto Condensed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CD244B8F-DD06-A94F-BDC5-A59B31E4BA52}"/>
              </a:ext>
            </a:extLst>
          </p:cNvPr>
          <p:cNvSpPr txBox="1"/>
          <p:nvPr/>
        </p:nvSpPr>
        <p:spPr>
          <a:xfrm>
            <a:off x="5183768" y="1775079"/>
            <a:ext cx="390352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117560"/>
            <a:r>
              <a:rPr lang="en-US" b="1" dirty="0">
                <a:solidFill>
                  <a:srgbClr val="6B6B6B"/>
                </a:solidFill>
                <a:latin typeface="Roboto Condensed"/>
              </a:rPr>
              <a:t>Solution 1</a:t>
            </a:r>
            <a:endParaRPr lang="en-US" sz="2000" b="1" dirty="0">
              <a:solidFill>
                <a:srgbClr val="6B6B6B"/>
              </a:solidFill>
              <a:latin typeface="Roboto Condensed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48343BC8-C9F5-4344-983A-B9C00DFB4CC0}"/>
              </a:ext>
            </a:extLst>
          </p:cNvPr>
          <p:cNvSpPr txBox="1"/>
          <p:nvPr/>
        </p:nvSpPr>
        <p:spPr>
          <a:xfrm>
            <a:off x="2427822" y="2356615"/>
            <a:ext cx="390352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117560"/>
            <a:r>
              <a:rPr lang="en-US" b="1" dirty="0">
                <a:solidFill>
                  <a:srgbClr val="6B6B6B"/>
                </a:solidFill>
                <a:latin typeface="Roboto Condensed"/>
              </a:rPr>
              <a:t>Recommendation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8C35BB83-F887-B845-A4C0-EBB9C544B1FB}"/>
              </a:ext>
            </a:extLst>
          </p:cNvPr>
          <p:cNvSpPr txBox="1"/>
          <p:nvPr/>
        </p:nvSpPr>
        <p:spPr>
          <a:xfrm>
            <a:off x="8391538" y="4009100"/>
            <a:ext cx="390352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117560"/>
            <a:r>
              <a:rPr lang="en-US" b="1" dirty="0">
                <a:solidFill>
                  <a:srgbClr val="6B6B6B"/>
                </a:solidFill>
                <a:latin typeface="Roboto Condensed"/>
              </a:rPr>
              <a:t>Timeline and Risk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C3E84651-4CEF-414F-BBCB-CBB3544EA948}"/>
              </a:ext>
            </a:extLst>
          </p:cNvPr>
          <p:cNvSpPr txBox="1"/>
          <p:nvPr/>
        </p:nvSpPr>
        <p:spPr>
          <a:xfrm>
            <a:off x="7528006" y="2356615"/>
            <a:ext cx="390352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117560"/>
            <a:r>
              <a:rPr lang="en-US" b="1" dirty="0">
                <a:solidFill>
                  <a:srgbClr val="6B6B6B"/>
                </a:solidFill>
                <a:latin typeface="Roboto Condensed"/>
              </a:rPr>
              <a:t>Solution 2</a:t>
            </a:r>
            <a:endParaRPr lang="en-US" sz="2000" b="1" dirty="0">
              <a:solidFill>
                <a:srgbClr val="6B6B6B"/>
              </a:solidFill>
              <a:latin typeface="Roboto Condensed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73122D5A-53A0-4775-A0AE-C860A160B52D}"/>
              </a:ext>
            </a:extLst>
          </p:cNvPr>
          <p:cNvSpPr/>
          <p:nvPr/>
        </p:nvSpPr>
        <p:spPr>
          <a:xfrm>
            <a:off x="0" y="264294"/>
            <a:ext cx="1757680" cy="741204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A7D3DCDD-332B-4A05-ABAD-32185BCEE011}"/>
              </a:ext>
            </a:extLst>
          </p:cNvPr>
          <p:cNvSpPr/>
          <p:nvPr/>
        </p:nvSpPr>
        <p:spPr>
          <a:xfrm>
            <a:off x="8575041" y="293170"/>
            <a:ext cx="3616959" cy="741204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050055D8-B216-43D3-B844-16C232E67075}"/>
              </a:ext>
            </a:extLst>
          </p:cNvPr>
          <p:cNvSpPr/>
          <p:nvPr/>
        </p:nvSpPr>
        <p:spPr>
          <a:xfrm>
            <a:off x="1757681" y="293170"/>
            <a:ext cx="6817360" cy="74120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dirty="0">
                <a:solidFill>
                  <a:schemeClr val="tx1"/>
                </a:solidFill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35815486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9348AD6-D40C-024E-86B3-BFB0EE1E3AD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5917780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6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9348AD6-D40C-024E-86B3-BFB0EE1E3A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2403D29D-F9B3-9349-910C-1BE927942FE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400">
              <a:latin typeface="Calibri Light" panose="020F0302020204030204" pitchFamily="34" charset="0"/>
              <a:ea typeface="+mj-ea"/>
              <a:sym typeface="Calibri Light" panose="020F0302020204030204" pitchFamily="34" charset="0"/>
            </a:endParaRPr>
          </a:p>
        </p:txBody>
      </p:sp>
      <p:sp>
        <p:nvSpPr>
          <p:cNvPr id="9" name="Rectangle 2">
            <a:extLst>
              <a:ext uri="{FF2B5EF4-FFF2-40B4-BE49-F238E27FC236}">
                <a16:creationId xmlns:a16="http://schemas.microsoft.com/office/drawing/2014/main" id="{7A14E421-4621-494B-9ABD-6E5BD56809C6}"/>
              </a:ext>
            </a:extLst>
          </p:cNvPr>
          <p:cNvSpPr/>
          <p:nvPr/>
        </p:nvSpPr>
        <p:spPr>
          <a:xfrm>
            <a:off x="0" y="264294"/>
            <a:ext cx="1757680" cy="741204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156F130-DF7A-4BCC-A5ED-A204EB998339}"/>
              </a:ext>
            </a:extLst>
          </p:cNvPr>
          <p:cNvSpPr/>
          <p:nvPr/>
        </p:nvSpPr>
        <p:spPr>
          <a:xfrm>
            <a:off x="8575041" y="293170"/>
            <a:ext cx="3616959" cy="741204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5E6904C7-ED97-4646-81E8-E416A140B2BA}"/>
              </a:ext>
            </a:extLst>
          </p:cNvPr>
          <p:cNvSpPr/>
          <p:nvPr/>
        </p:nvSpPr>
        <p:spPr>
          <a:xfrm>
            <a:off x="1669999" y="268118"/>
            <a:ext cx="6817360" cy="74120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>
                <a:solidFill>
                  <a:srgbClr val="000000"/>
                </a:solidFill>
                <a:ea typeface="+mn-lt"/>
                <a:cs typeface="+mn-lt"/>
              </a:rPr>
              <a:t>Potential solutions to these Issues</a:t>
            </a:r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157624F9-C141-40B1-9B93-BBFCD66E987C}"/>
              </a:ext>
            </a:extLst>
          </p:cNvPr>
          <p:cNvSpPr/>
          <p:nvPr/>
        </p:nvSpPr>
        <p:spPr>
          <a:xfrm>
            <a:off x="431027" y="1656566"/>
            <a:ext cx="5417506" cy="4864273"/>
          </a:xfrm>
          <a:prstGeom prst="roundRect">
            <a:avLst/>
          </a:prstGeom>
          <a:noFill/>
          <a:ln>
            <a:solidFill>
              <a:schemeClr val="bg1">
                <a:lumMod val="65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8FE9C847-1B93-43A3-B916-E78713906795}"/>
              </a:ext>
            </a:extLst>
          </p:cNvPr>
          <p:cNvSpPr txBox="1"/>
          <p:nvPr/>
        </p:nvSpPr>
        <p:spPr>
          <a:xfrm>
            <a:off x="878840" y="2462436"/>
            <a:ext cx="4789116" cy="2954655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i="1" dirty="0"/>
              <a:t>Using text analytics to identify the posts with mature content. This can be done by tweaking the "stop-word" algorithm to </a:t>
            </a:r>
            <a:r>
              <a:rPr lang="en-US" sz="2400" b="1" i="1" dirty="0">
                <a:solidFill>
                  <a:srgbClr val="ED7D31"/>
                </a:solidFill>
              </a:rPr>
              <a:t>flag 18+ words</a:t>
            </a:r>
            <a:r>
              <a:rPr lang="en-US" sz="2400" i="1" dirty="0">
                <a:solidFill>
                  <a:srgbClr val="ED7D31"/>
                </a:solidFill>
              </a:rPr>
              <a:t>.</a:t>
            </a:r>
            <a:endParaRPr lang="en-US" sz="2400" i="1" dirty="0">
              <a:solidFill>
                <a:srgbClr val="ED7D31"/>
              </a:solidFill>
              <a:cs typeface="Calibri"/>
            </a:endParaRPr>
          </a:p>
          <a:p>
            <a:endParaRPr lang="en-US" i="1" dirty="0">
              <a:cs typeface="Calibri"/>
            </a:endParaRPr>
          </a:p>
          <a:p>
            <a:r>
              <a:rPr lang="en-US" i="1" dirty="0">
                <a:cs typeface="Calibri"/>
              </a:rPr>
              <a:t>Only by </a:t>
            </a:r>
            <a:r>
              <a:rPr lang="en-US" sz="2400" b="1" i="1" dirty="0">
                <a:solidFill>
                  <a:srgbClr val="ED7D31"/>
                </a:solidFill>
                <a:cs typeface="Calibri"/>
              </a:rPr>
              <a:t>clicking on a specific button/icon</a:t>
            </a:r>
            <a:r>
              <a:rPr lang="en-US" sz="2400" i="1" dirty="0">
                <a:solidFill>
                  <a:srgbClr val="ED7D31"/>
                </a:solidFill>
                <a:cs typeface="Calibri"/>
              </a:rPr>
              <a:t> </a:t>
            </a:r>
            <a:r>
              <a:rPr lang="en-US" i="1" dirty="0">
                <a:cs typeface="Calibri"/>
              </a:rPr>
              <a:t>on the webpage and thus getting user authorization, would the mature content be revealed to the user</a:t>
            </a:r>
          </a:p>
        </p:txBody>
      </p:sp>
      <p:sp>
        <p:nvSpPr>
          <p:cNvPr id="26" name="Rectangle: Rounded Corners 25">
            <a:extLst>
              <a:ext uri="{FF2B5EF4-FFF2-40B4-BE49-F238E27FC236}">
                <a16:creationId xmlns:a16="http://schemas.microsoft.com/office/drawing/2014/main" id="{C46F91E2-34B0-417E-9E0B-FB504871F9EF}"/>
              </a:ext>
            </a:extLst>
          </p:cNvPr>
          <p:cNvSpPr/>
          <p:nvPr/>
        </p:nvSpPr>
        <p:spPr>
          <a:xfrm>
            <a:off x="6339137" y="1646127"/>
            <a:ext cx="5417506" cy="4864273"/>
          </a:xfrm>
          <a:prstGeom prst="roundRect">
            <a:avLst/>
          </a:prstGeom>
          <a:noFill/>
          <a:ln>
            <a:solidFill>
              <a:schemeClr val="bg1">
                <a:lumMod val="65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EBD3CE86-91F7-4438-8DFC-57D6822826FF}"/>
              </a:ext>
            </a:extLst>
          </p:cNvPr>
          <p:cNvSpPr txBox="1"/>
          <p:nvPr/>
        </p:nvSpPr>
        <p:spPr>
          <a:xfrm>
            <a:off x="6780587" y="2581471"/>
            <a:ext cx="4789116" cy="289310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endParaRPr lang="en-US" sz="2000" i="1" dirty="0">
              <a:solidFill>
                <a:srgbClr val="ED7D31"/>
              </a:solidFill>
            </a:endParaRPr>
          </a:p>
          <a:p>
            <a:r>
              <a:rPr lang="en-US" sz="2400" b="1" i="1" dirty="0">
                <a:solidFill>
                  <a:srgbClr val="44536A"/>
                </a:solidFill>
              </a:rPr>
              <a:t>Real-time classification </a:t>
            </a:r>
            <a:r>
              <a:rPr lang="en-US" i="1" dirty="0"/>
              <a:t>of the posts to identify whether they fall into this category or not.</a:t>
            </a:r>
          </a:p>
          <a:p>
            <a:endParaRPr lang="en-US" i="1" dirty="0">
              <a:ea typeface="+mn-lt"/>
              <a:cs typeface="+mn-lt"/>
            </a:endParaRPr>
          </a:p>
          <a:p>
            <a:r>
              <a:rPr lang="en-US" i="1" dirty="0">
                <a:ea typeface="+mn-lt"/>
                <a:cs typeface="+mn-lt"/>
              </a:rPr>
              <a:t>Further, </a:t>
            </a:r>
            <a:r>
              <a:rPr lang="en-US" sz="2400" b="1" i="1" dirty="0">
                <a:solidFill>
                  <a:srgbClr val="44536A"/>
                </a:solidFill>
                <a:ea typeface="+mn-lt"/>
                <a:cs typeface="+mn-lt"/>
              </a:rPr>
              <a:t>renaming this category to "Amusing posts"</a:t>
            </a:r>
            <a:r>
              <a:rPr lang="en-US" sz="2000" b="1" i="1" dirty="0">
                <a:solidFill>
                  <a:srgbClr val="44536A"/>
                </a:solidFill>
                <a:ea typeface="+mn-lt"/>
                <a:cs typeface="+mn-lt"/>
              </a:rPr>
              <a:t> </a:t>
            </a:r>
            <a:r>
              <a:rPr lang="en-US" i="1" dirty="0">
                <a:ea typeface="+mn-lt"/>
                <a:cs typeface="+mn-lt"/>
              </a:rPr>
              <a:t>so that the customers can better comprehend this category and have realistic expectations from the pages</a:t>
            </a:r>
          </a:p>
        </p:txBody>
      </p: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E2AF5A19-A456-4C0D-975F-8FB33D9146B9}"/>
              </a:ext>
            </a:extLst>
          </p:cNvPr>
          <p:cNvSpPr/>
          <p:nvPr/>
        </p:nvSpPr>
        <p:spPr>
          <a:xfrm>
            <a:off x="921629" y="1468676"/>
            <a:ext cx="4144026" cy="501042"/>
          </a:xfrm>
          <a:prstGeom prst="roundRect">
            <a:avLst/>
          </a:prstGeom>
          <a:solidFill>
            <a:srgbClr val="44536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bg1"/>
                </a:solidFill>
                <a:ea typeface="+mn-lt"/>
                <a:cs typeface="+mn-lt"/>
              </a:rPr>
              <a:t>Mature content</a:t>
            </a:r>
            <a:endParaRPr lang="en-US" dirty="0">
              <a:solidFill>
                <a:schemeClr val="bg1"/>
              </a:solidFill>
              <a:cs typeface="Calibri"/>
            </a:endParaRPr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A0564FD0-AE15-4334-9F84-82F4C8305BF9}"/>
              </a:ext>
            </a:extLst>
          </p:cNvPr>
          <p:cNvSpPr/>
          <p:nvPr/>
        </p:nvSpPr>
        <p:spPr>
          <a:xfrm>
            <a:off x="7028067" y="1468676"/>
            <a:ext cx="3935259" cy="501042"/>
          </a:xfrm>
          <a:prstGeom prst="roundRect">
            <a:avLst/>
          </a:prstGeom>
          <a:solidFill>
            <a:srgbClr val="ED7D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bg1"/>
                </a:solidFill>
                <a:cs typeface="Calibri"/>
              </a:rPr>
              <a:t>"Best of Craigslist”</a:t>
            </a:r>
          </a:p>
        </p:txBody>
      </p:sp>
    </p:spTree>
    <p:extLst>
      <p:ext uri="{BB962C8B-B14F-4D97-AF65-F5344CB8AC3E}">
        <p14:creationId xmlns:p14="http://schemas.microsoft.com/office/powerpoint/2010/main" val="306439311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6" grpId="0" animBg="1"/>
      <p:bldP spid="27" grpId="0"/>
      <p:bldP spid="21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W_Cn2rWwajBEB4Fu4a7u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YBmj6BIowjzRFd4_G1yR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FExL3jV_0mPZg0DK61pV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GSyqIcL.APmAdMCfmplp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XVfto300e7YhgVnUpP.v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FExL3jV_0mPZg0DK61pV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2DBH1eQ4_HYJoUoDOVIw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FExL3jV_0mPZg0DK61pV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NzOJURv_iqLhdLlsHIKS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5fydTrXAioJTq501DtNw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FExL3jV_0mPZg0DK61pV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FExL3jV_0mPZg0DK61pV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0.K0YH59MM3wniC3H5u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bARanpDeR579ik6qOEVm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zPvXyyQlNhVC2oQjB2Qi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otaRIy2KrY1osVQXkbKi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MtvSeeh30a8AT4cug3Db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3oFFYnhHnPGrd5PWELpR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0cG9OAfjsPDTt_i8MoKO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Ze8YYNSLy2VOeQZzcmhj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cbjO9gqL75_A2bx2LrUl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cX5WywjVNNnBccEZ.EYA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wGsbdLxXyzCvvo5CFWa9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TohhMeBPZAQJPTQy2R_G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Z50lSLKVC_K4CsspDlL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LyX7V1LP8_iUakwJHJc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YoZ8dgZMWcKZf2k8NWIG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4eL0YoGylqEKTf2lMbYb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0.K0YH59MM3wniC3H5u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5fydTrXAioJTq501DtNw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MtvSeeh30a8AT4cug3Db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DZ36gJU1yVdzYHodF1duA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Ion">
  <a:themeElements>
    <a:clrScheme name="Model X">
      <a:dk1>
        <a:srgbClr val="272E3A"/>
      </a:dk1>
      <a:lt1>
        <a:srgbClr val="FFFFFF"/>
      </a:lt1>
      <a:dk2>
        <a:srgbClr val="00A3DA"/>
      </a:dk2>
      <a:lt2>
        <a:srgbClr val="0CA8DA"/>
      </a:lt2>
      <a:accent1>
        <a:srgbClr val="56CADC"/>
      </a:accent1>
      <a:accent2>
        <a:srgbClr val="49C4DB"/>
      </a:accent2>
      <a:accent3>
        <a:srgbClr val="3DBEDB"/>
      </a:accent3>
      <a:accent4>
        <a:srgbClr val="31B9DB"/>
      </a:accent4>
      <a:accent5>
        <a:srgbClr val="24B3DA"/>
      </a:accent5>
      <a:accent6>
        <a:srgbClr val="18AEDA"/>
      </a:accent6>
      <a:hlink>
        <a:srgbClr val="2F8299"/>
      </a:hlink>
      <a:folHlink>
        <a:srgbClr val="8C8C8C"/>
      </a:folHlink>
    </a:clrScheme>
    <a:fontScheme name="Model X">
      <a:majorFont>
        <a:latin typeface="Open Sans Light"/>
        <a:ea typeface=""/>
        <a:cs typeface=""/>
      </a:majorFont>
      <a:minorFont>
        <a:latin typeface="Open Sans Light"/>
        <a:ea typeface=""/>
        <a:cs typeface=""/>
      </a:minorFont>
    </a:fontScheme>
    <a:fmtScheme name="Ion">
      <a:fillStyleLst>
        <a:solidFill>
          <a:schemeClr val="phClr"/>
        </a:solidFill>
        <a:gradFill rotWithShape="1">
          <a:gsLst>
            <a:gs pos="0">
              <a:schemeClr val="phClr">
                <a:tint val="64000"/>
                <a:lumMod val="118000"/>
              </a:schemeClr>
            </a:gs>
            <a:gs pos="100000">
              <a:schemeClr val="phClr">
                <a:tint val="92000"/>
                <a:alpha val="100000"/>
                <a:lumMod val="11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8000"/>
                <a:lumMod val="114000"/>
              </a:schemeClr>
            </a:gs>
            <a:gs pos="100000">
              <a:schemeClr val="phClr">
                <a:shade val="90000"/>
                <a:lumMod val="84000"/>
              </a:schemeClr>
            </a:gs>
          </a:gsLst>
          <a:lin ang="5400000" scaled="0"/>
        </a:gradFill>
      </a:fillStyleLst>
      <a:lnStyleLst>
        <a:ln w="9525" cap="rnd" cmpd="sng" algn="ctr">
          <a:solidFill>
            <a:schemeClr val="phClr"/>
          </a:solidFill>
          <a:prstDash val="solid"/>
        </a:ln>
        <a:ln w="19050" cap="rnd" cmpd="sng" algn="ctr">
          <a:solidFill>
            <a:schemeClr val="phClr"/>
          </a:solidFill>
          <a:prstDash val="solid"/>
        </a:ln>
        <a:ln w="28575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63500" dist="38100" dir="5400000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/>
          </a:scene3d>
          <a:sp3d prstMaterial="plastic">
            <a:bevelT w="0" h="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7000"/>
                <a:hueMod val="88000"/>
                <a:satMod val="130000"/>
                <a:lumMod val="124000"/>
              </a:schemeClr>
            </a:gs>
            <a:gs pos="100000">
              <a:schemeClr val="phClr">
                <a:tint val="96000"/>
                <a:shade val="88000"/>
                <a:hueMod val="108000"/>
                <a:satMod val="164000"/>
                <a:lumMod val="76000"/>
              </a:schemeClr>
            </a:gs>
          </a:gsLst>
          <a:path path="circle">
            <a:fillToRect l="45000" t="65000" r="125000" b="100000"/>
          </a:path>
        </a:gradFill>
        <a:blipFill rotWithShape="1">
          <a:blip xmlns:r="http://schemas.openxmlformats.org/officeDocument/2006/relationships" r:embed="rId1">
            <a:duotone>
              <a:schemeClr val="phClr">
                <a:shade val="69000"/>
                <a:hueMod val="108000"/>
                <a:satMod val="164000"/>
                <a:lumMod val="74000"/>
              </a:schemeClr>
              <a:schemeClr val="phClr">
                <a:tint val="96000"/>
                <a:hueMod val="88000"/>
                <a:satMod val="140000"/>
                <a:lumMod val="132000"/>
              </a:schemeClr>
            </a:duotone>
          </a:blip>
          <a:stretch/>
        </a:blip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Ion" id="{B8441ADB-2E43-4AF7-B97A-BD870242C6A8}" vid="{292E63A9-BB86-4E3D-B92A-7223C6510D2E}"/>
    </a:ext>
  </a:extLst>
</a:theme>
</file>

<file path=ppt/theme/theme2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Blank">
  <a:themeElements>
    <a:clrScheme name="ATK Color 2012_01">
      <a:dk1>
        <a:srgbClr val="000000"/>
      </a:dk1>
      <a:lt1>
        <a:srgbClr val="FFFFFF"/>
      </a:lt1>
      <a:dk2>
        <a:srgbClr val="778242"/>
      </a:dk2>
      <a:lt2>
        <a:srgbClr val="9B1717"/>
      </a:lt2>
      <a:accent1>
        <a:srgbClr val="364086"/>
      </a:accent1>
      <a:accent2>
        <a:srgbClr val="EFEEEC"/>
      </a:accent2>
      <a:accent3>
        <a:srgbClr val="ADABA1"/>
      </a:accent3>
      <a:accent4>
        <a:srgbClr val="858274"/>
      </a:accent4>
      <a:accent5>
        <a:srgbClr val="FCA248"/>
      </a:accent5>
      <a:accent6>
        <a:srgbClr val="CDD773"/>
      </a:accent6>
      <a:hlink>
        <a:srgbClr val="364086"/>
      </a:hlink>
      <a:folHlink>
        <a:srgbClr val="A3AADA"/>
      </a:folHlink>
    </a:clrScheme>
    <a:fontScheme name="ATK Font 2012_0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 w="6350" cap="flat">
          <a:noFill/>
          <a:miter lim="800000"/>
        </a:ln>
      </a:spPr>
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Bef>
            <a:spcPts val="900"/>
          </a:spcBef>
          <a:defRPr sz="1400" dirty="0" err="1" smtClean="0">
            <a:solidFill>
              <a:schemeClr val="bg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accent3"/>
          </a:solidFill>
          <a:miter lim="800000"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6350" cap="flat">
          <a:noFill/>
          <a:miter lim="800000"/>
        </a:ln>
      </a:spPr>
      <a:bodyPr wrap="none" lIns="0" tIns="0" rIns="0" bIns="0" rtlCol="0" anchor="t" anchorCtr="0">
        <a:spAutoFit/>
      </a:bodyPr>
      <a:lstStyle>
        <a:defPPr>
          <a:lnSpc>
            <a:spcPct val="90000"/>
          </a:lnSpc>
          <a:spcBef>
            <a:spcPts val="600"/>
          </a:spcBef>
          <a:buClr>
            <a:schemeClr val="bg2"/>
          </a:buClr>
          <a:defRPr sz="1400" dirty="0" err="1" smtClean="0">
            <a:latin typeface="Arial "/>
          </a:defRPr>
        </a:defPPr>
      </a:lstStyle>
    </a:txDef>
  </a:objectDefaults>
  <a:extraClrSchemeLst/>
  <a:custClrLst>
    <a:custClr name="Custom Color 1">
      <a:srgbClr val="9B1717"/>
    </a:custClr>
    <a:custClr name="Custom Color 2">
      <a:srgbClr val="DCDC00"/>
    </a:custClr>
    <a:custClr name="Custom Color 3">
      <a:srgbClr val="289055"/>
    </a:custClr>
  </a:custClr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DE8714F4C5114458C3E1F16CC5706C7" ma:contentTypeVersion="2" ma:contentTypeDescription="Create a new document." ma:contentTypeScope="" ma:versionID="677be06d7cded1853b052ae7940447a3">
  <xsd:schema xmlns:xsd="http://www.w3.org/2001/XMLSchema" xmlns:xs="http://www.w3.org/2001/XMLSchema" xmlns:p="http://schemas.microsoft.com/office/2006/metadata/properties" xmlns:ns3="a2b30ae3-a73e-4802-95e6-70717e22735c" targetNamespace="http://schemas.microsoft.com/office/2006/metadata/properties" ma:root="true" ma:fieldsID="6e074ac65b41a282f0c3e8c2a0c6e67d" ns3:_="">
    <xsd:import namespace="a2b30ae3-a73e-4802-95e6-70717e22735c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2b30ae3-a73e-4802-95e6-70717e22735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EB95F24A-FB2B-4236-A2BE-1928D2786B3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2b30ae3-a73e-4802-95e6-70717e22735c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DD77B241-EE2C-47DF-A679-665B5B697196}">
  <ds:schemaRefs>
    <ds:schemaRef ds:uri="http://purl.org/dc/elements/1.1/"/>
    <ds:schemaRef ds:uri="a2b30ae3-a73e-4802-95e6-70717e22735c"/>
    <ds:schemaRef ds:uri="http://www.w3.org/XML/1998/namespace"/>
    <ds:schemaRef ds:uri="http://schemas.microsoft.com/office/2006/documentManagement/types"/>
    <ds:schemaRef ds:uri="http://purl.org/dc/terms/"/>
    <ds:schemaRef ds:uri="http://schemas.microsoft.com/office/2006/metadata/properties"/>
    <ds:schemaRef ds:uri="http://schemas.openxmlformats.org/package/2006/metadata/core-properties"/>
    <ds:schemaRef ds:uri="http://schemas.microsoft.com/office/infopath/2007/PartnerControls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E899F146-4B99-427A-B942-F92233FBB26F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538</TotalTime>
  <Words>1105</Words>
  <Application>Microsoft Office PowerPoint</Application>
  <PresentationFormat>Widescreen</PresentationFormat>
  <Paragraphs>246</Paragraphs>
  <Slides>26</Slides>
  <Notes>10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6</vt:i4>
      </vt:variant>
    </vt:vector>
  </HeadingPairs>
  <TitlesOfParts>
    <vt:vector size="39" baseType="lpstr">
      <vt:lpstr>Arial</vt:lpstr>
      <vt:lpstr>Avenir Next LT Pro Light</vt:lpstr>
      <vt:lpstr>Calibri</vt:lpstr>
      <vt:lpstr>Calibri Light</vt:lpstr>
      <vt:lpstr>Open Sans Light</vt:lpstr>
      <vt:lpstr>Roboto Condensed</vt:lpstr>
      <vt:lpstr>Verdana</vt:lpstr>
      <vt:lpstr>Wingdings</vt:lpstr>
      <vt:lpstr>Wingdings 3</vt:lpstr>
      <vt:lpstr>Ion</vt:lpstr>
      <vt:lpstr>Office Theme</vt:lpstr>
      <vt:lpstr>Blank</vt:lpstr>
      <vt:lpstr>think-cell Slide</vt:lpstr>
      <vt:lpstr>PowerPoint Presentation</vt:lpstr>
      <vt:lpstr>Automate Identification of ‘Best of Craigslist’ posts 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Appendix</vt:lpstr>
      <vt:lpstr>Project analysis slide 10</vt:lpstr>
      <vt:lpstr>Project analysis slide 10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utomate identification of ‘Best of Craigslist’ posts</dc:title>
  <dc:creator>Samir Husain</dc:creator>
  <cp:lastModifiedBy>Samir Husain</cp:lastModifiedBy>
  <cp:revision>27</cp:revision>
  <dcterms:created xsi:type="dcterms:W3CDTF">2019-12-03T04:05:47Z</dcterms:created>
  <dcterms:modified xsi:type="dcterms:W3CDTF">2019-12-11T02:44:47Z</dcterms:modified>
</cp:coreProperties>
</file>